
<file path=[Content_Types].xml><?xml version="1.0" encoding="utf-8"?>
<Types xmlns="http://schemas.openxmlformats.org/package/2006/content-types">
  <Default Extension="png" ContentType="image/png"/>
  <Default Extension="tmp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709" r:id="rId3"/>
  </p:sldMasterIdLst>
  <p:sldIdLst>
    <p:sldId id="266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80" r:id="rId22"/>
    <p:sldId id="281" r:id="rId23"/>
    <p:sldId id="282" r:id="rId24"/>
    <p:sldId id="283" r:id="rId25"/>
    <p:sldId id="284" r:id="rId26"/>
    <p:sldId id="276" r:id="rId27"/>
    <p:sldId id="285" r:id="rId28"/>
    <p:sldId id="286" r:id="rId29"/>
    <p:sldId id="287" r:id="rId30"/>
    <p:sldId id="288" r:id="rId31"/>
    <p:sldId id="289" r:id="rId32"/>
    <p:sldId id="290" r:id="rId3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5" d="100"/>
          <a:sy n="65" d="100"/>
        </p:scale>
        <p:origin x="-1452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8B5C10A-C3A2-4161-9828-D95F45FE57AA}" type="doc">
      <dgm:prSet loTypeId="urn:microsoft.com/office/officeart/2008/layout/HorizontalMultiLevelHierarchy" loCatId="hierarchy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7F1243F-5939-4496-8B8B-6D652C437068}">
      <dgm:prSet phldrT="[Text]"/>
      <dgm:spPr/>
      <dgm:t>
        <a:bodyPr/>
        <a:lstStyle/>
        <a:p>
          <a:r>
            <a:rPr lang="en-US" dirty="0" smtClean="0"/>
            <a:t>ACCOUNTS</a:t>
          </a:r>
          <a:endParaRPr lang="en-US" dirty="0"/>
        </a:p>
      </dgm:t>
    </dgm:pt>
    <dgm:pt modelId="{3382732B-FC82-4D75-BB18-57567FD9DBBF}" type="parTrans" cxnId="{157C62C6-4878-4A2A-9FA6-7BF7709438FF}">
      <dgm:prSet/>
      <dgm:spPr/>
      <dgm:t>
        <a:bodyPr/>
        <a:lstStyle/>
        <a:p>
          <a:endParaRPr lang="en-US"/>
        </a:p>
      </dgm:t>
    </dgm:pt>
    <dgm:pt modelId="{AB65D03C-A628-4BC3-9942-EFB244354752}" type="sibTrans" cxnId="{157C62C6-4878-4A2A-9FA6-7BF7709438FF}">
      <dgm:prSet/>
      <dgm:spPr/>
      <dgm:t>
        <a:bodyPr/>
        <a:lstStyle/>
        <a:p>
          <a:endParaRPr lang="en-US"/>
        </a:p>
      </dgm:t>
    </dgm:pt>
    <dgm:pt modelId="{0FF4C804-F590-4101-A221-F15B95F79808}">
      <dgm:prSet phldrT="[Text]"/>
      <dgm:spPr/>
      <dgm:t>
        <a:bodyPr/>
        <a:lstStyle/>
        <a:p>
          <a:r>
            <a:rPr lang="en-US" dirty="0" smtClean="0"/>
            <a:t>Personal Accounts</a:t>
          </a:r>
          <a:endParaRPr lang="en-US" dirty="0"/>
        </a:p>
      </dgm:t>
    </dgm:pt>
    <dgm:pt modelId="{D56AD2A0-F64F-4255-B0F4-5E5C92298BF9}" type="parTrans" cxnId="{B7EC1884-0E0F-4695-9812-5DD8B1F6E865}">
      <dgm:prSet/>
      <dgm:spPr/>
      <dgm:t>
        <a:bodyPr/>
        <a:lstStyle/>
        <a:p>
          <a:endParaRPr lang="en-US"/>
        </a:p>
      </dgm:t>
    </dgm:pt>
    <dgm:pt modelId="{89AE5605-CD81-477A-B81A-14BFD519947D}" type="sibTrans" cxnId="{B7EC1884-0E0F-4695-9812-5DD8B1F6E865}">
      <dgm:prSet/>
      <dgm:spPr/>
      <dgm:t>
        <a:bodyPr/>
        <a:lstStyle/>
        <a:p>
          <a:endParaRPr lang="en-US"/>
        </a:p>
      </dgm:t>
    </dgm:pt>
    <dgm:pt modelId="{8B869A8D-D5F4-4397-8A2C-8ED06EAA2F19}">
      <dgm:prSet phldrT="[Text]"/>
      <dgm:spPr/>
      <dgm:t>
        <a:bodyPr/>
        <a:lstStyle/>
        <a:p>
          <a:r>
            <a:rPr lang="en-US" dirty="0" smtClean="0"/>
            <a:t>Real Accounts</a:t>
          </a:r>
          <a:endParaRPr lang="en-US" dirty="0"/>
        </a:p>
      </dgm:t>
    </dgm:pt>
    <dgm:pt modelId="{322EF7D2-D6F9-433C-A2A8-E31462E10794}" type="parTrans" cxnId="{272C0E6F-CE97-409F-AC97-7D3DEFCDEB8C}">
      <dgm:prSet/>
      <dgm:spPr/>
      <dgm:t>
        <a:bodyPr/>
        <a:lstStyle/>
        <a:p>
          <a:endParaRPr lang="en-US"/>
        </a:p>
      </dgm:t>
    </dgm:pt>
    <dgm:pt modelId="{219FC35C-51BE-45C7-ADAF-DD0C3F915CBA}" type="sibTrans" cxnId="{272C0E6F-CE97-409F-AC97-7D3DEFCDEB8C}">
      <dgm:prSet/>
      <dgm:spPr/>
      <dgm:t>
        <a:bodyPr/>
        <a:lstStyle/>
        <a:p>
          <a:endParaRPr lang="en-US"/>
        </a:p>
      </dgm:t>
    </dgm:pt>
    <dgm:pt modelId="{11FE58DD-BC9C-4463-AA2C-ABA3DC8375C7}">
      <dgm:prSet phldrT="[Text]"/>
      <dgm:spPr/>
      <dgm:t>
        <a:bodyPr/>
        <a:lstStyle/>
        <a:p>
          <a:r>
            <a:rPr lang="en-US" dirty="0" smtClean="0"/>
            <a:t>Nominal Accounts</a:t>
          </a:r>
          <a:endParaRPr lang="en-US" dirty="0"/>
        </a:p>
      </dgm:t>
    </dgm:pt>
    <dgm:pt modelId="{798D37D4-CC11-4978-9B65-8EB6B735ED10}" type="parTrans" cxnId="{23DFC89B-D1AE-44AD-BD06-B56873419A9B}">
      <dgm:prSet/>
      <dgm:spPr/>
      <dgm:t>
        <a:bodyPr/>
        <a:lstStyle/>
        <a:p>
          <a:endParaRPr lang="en-US"/>
        </a:p>
      </dgm:t>
    </dgm:pt>
    <dgm:pt modelId="{68105CAE-DA77-4E4F-A312-BD92E02DF0D0}" type="sibTrans" cxnId="{23DFC89B-D1AE-44AD-BD06-B56873419A9B}">
      <dgm:prSet/>
      <dgm:spPr/>
      <dgm:t>
        <a:bodyPr/>
        <a:lstStyle/>
        <a:p>
          <a:endParaRPr lang="en-US"/>
        </a:p>
      </dgm:t>
    </dgm:pt>
    <dgm:pt modelId="{6B6BB344-AC4D-4C8F-95BD-0E1C533BAD89}" type="pres">
      <dgm:prSet presAssocID="{58B5C10A-C3A2-4161-9828-D95F45FE57AA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6686396-A088-4886-B4AD-CB046EE2104F}" type="pres">
      <dgm:prSet presAssocID="{E7F1243F-5939-4496-8B8B-6D652C437068}" presName="root1" presStyleCnt="0"/>
      <dgm:spPr/>
    </dgm:pt>
    <dgm:pt modelId="{0D28CA98-59D7-4B14-A205-E77B66B3E1C1}" type="pres">
      <dgm:prSet presAssocID="{E7F1243F-5939-4496-8B8B-6D652C437068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305F1B8-6157-4492-8F35-FDFD69C0CB0B}" type="pres">
      <dgm:prSet presAssocID="{E7F1243F-5939-4496-8B8B-6D652C437068}" presName="level2hierChild" presStyleCnt="0"/>
      <dgm:spPr/>
    </dgm:pt>
    <dgm:pt modelId="{633AA4ED-6B76-408B-8C7D-E4F7D3210715}" type="pres">
      <dgm:prSet presAssocID="{D56AD2A0-F64F-4255-B0F4-5E5C92298BF9}" presName="conn2-1" presStyleLbl="parChTrans1D2" presStyleIdx="0" presStyleCnt="3"/>
      <dgm:spPr/>
      <dgm:t>
        <a:bodyPr/>
        <a:lstStyle/>
        <a:p>
          <a:endParaRPr lang="en-US"/>
        </a:p>
      </dgm:t>
    </dgm:pt>
    <dgm:pt modelId="{94DCCB71-98EA-41BE-B9BB-A1DDC7388C45}" type="pres">
      <dgm:prSet presAssocID="{D56AD2A0-F64F-4255-B0F4-5E5C92298BF9}" presName="connTx" presStyleLbl="parChTrans1D2" presStyleIdx="0" presStyleCnt="3"/>
      <dgm:spPr/>
      <dgm:t>
        <a:bodyPr/>
        <a:lstStyle/>
        <a:p>
          <a:endParaRPr lang="en-US"/>
        </a:p>
      </dgm:t>
    </dgm:pt>
    <dgm:pt modelId="{03B9DBA7-EED0-4DA6-B964-7AA641F43FF2}" type="pres">
      <dgm:prSet presAssocID="{0FF4C804-F590-4101-A221-F15B95F79808}" presName="root2" presStyleCnt="0"/>
      <dgm:spPr/>
    </dgm:pt>
    <dgm:pt modelId="{45D12000-0D68-43D8-886A-19583409DA1E}" type="pres">
      <dgm:prSet presAssocID="{0FF4C804-F590-4101-A221-F15B95F79808}" presName="LevelTwoTextNode" presStyleLbl="node2" presStyleIdx="0" presStyleCnt="3" custScaleX="1160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2B1C60F-214E-4FBA-B227-BC6B38490A8F}" type="pres">
      <dgm:prSet presAssocID="{0FF4C804-F590-4101-A221-F15B95F79808}" presName="level3hierChild" presStyleCnt="0"/>
      <dgm:spPr/>
    </dgm:pt>
    <dgm:pt modelId="{F3CDD584-C9D8-41B7-8A20-2F9B6C70A375}" type="pres">
      <dgm:prSet presAssocID="{322EF7D2-D6F9-433C-A2A8-E31462E10794}" presName="conn2-1" presStyleLbl="parChTrans1D2" presStyleIdx="1" presStyleCnt="3"/>
      <dgm:spPr/>
      <dgm:t>
        <a:bodyPr/>
        <a:lstStyle/>
        <a:p>
          <a:endParaRPr lang="en-US"/>
        </a:p>
      </dgm:t>
    </dgm:pt>
    <dgm:pt modelId="{5E3E6EA1-B492-4360-96E7-86D1699A0B54}" type="pres">
      <dgm:prSet presAssocID="{322EF7D2-D6F9-433C-A2A8-E31462E10794}" presName="connTx" presStyleLbl="parChTrans1D2" presStyleIdx="1" presStyleCnt="3"/>
      <dgm:spPr/>
      <dgm:t>
        <a:bodyPr/>
        <a:lstStyle/>
        <a:p>
          <a:endParaRPr lang="en-US"/>
        </a:p>
      </dgm:t>
    </dgm:pt>
    <dgm:pt modelId="{52DFC26E-1265-4CFC-852A-B40F8B58488C}" type="pres">
      <dgm:prSet presAssocID="{8B869A8D-D5F4-4397-8A2C-8ED06EAA2F19}" presName="root2" presStyleCnt="0"/>
      <dgm:spPr/>
    </dgm:pt>
    <dgm:pt modelId="{BA12036D-BB0D-4707-BA86-554565E0C513}" type="pres">
      <dgm:prSet presAssocID="{8B869A8D-D5F4-4397-8A2C-8ED06EAA2F19}" presName="LevelTwoTextNode" presStyleLbl="node2" presStyleIdx="1" presStyleCnt="3" custScaleX="1160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794F85C-A7F0-4819-AEE7-66F507F4B607}" type="pres">
      <dgm:prSet presAssocID="{8B869A8D-D5F4-4397-8A2C-8ED06EAA2F19}" presName="level3hierChild" presStyleCnt="0"/>
      <dgm:spPr/>
    </dgm:pt>
    <dgm:pt modelId="{842F16EE-477F-4CD9-B580-0C7E21392724}" type="pres">
      <dgm:prSet presAssocID="{798D37D4-CC11-4978-9B65-8EB6B735ED10}" presName="conn2-1" presStyleLbl="parChTrans1D2" presStyleIdx="2" presStyleCnt="3"/>
      <dgm:spPr/>
      <dgm:t>
        <a:bodyPr/>
        <a:lstStyle/>
        <a:p>
          <a:endParaRPr lang="en-US"/>
        </a:p>
      </dgm:t>
    </dgm:pt>
    <dgm:pt modelId="{4D69D911-9D5C-45B7-BC28-853FFB635752}" type="pres">
      <dgm:prSet presAssocID="{798D37D4-CC11-4978-9B65-8EB6B735ED10}" presName="connTx" presStyleLbl="parChTrans1D2" presStyleIdx="2" presStyleCnt="3"/>
      <dgm:spPr/>
      <dgm:t>
        <a:bodyPr/>
        <a:lstStyle/>
        <a:p>
          <a:endParaRPr lang="en-US"/>
        </a:p>
      </dgm:t>
    </dgm:pt>
    <dgm:pt modelId="{5EF3A40E-5493-461F-96E7-6D8568995247}" type="pres">
      <dgm:prSet presAssocID="{11FE58DD-BC9C-4463-AA2C-ABA3DC8375C7}" presName="root2" presStyleCnt="0"/>
      <dgm:spPr/>
    </dgm:pt>
    <dgm:pt modelId="{73BF00F7-DAFD-4C28-B447-5BB9C3DD17B3}" type="pres">
      <dgm:prSet presAssocID="{11FE58DD-BC9C-4463-AA2C-ABA3DC8375C7}" presName="LevelTwoTextNode" presStyleLbl="node2" presStyleIdx="2" presStyleCnt="3" custScaleX="1160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FAC1DEE-61A5-41C1-94F0-C5ADF4A77E35}" type="pres">
      <dgm:prSet presAssocID="{11FE58DD-BC9C-4463-AA2C-ABA3DC8375C7}" presName="level3hierChild" presStyleCnt="0"/>
      <dgm:spPr/>
    </dgm:pt>
  </dgm:ptLst>
  <dgm:cxnLst>
    <dgm:cxn modelId="{B08755EC-C770-41BF-AB10-5C9DAFAA6F72}" type="presOf" srcId="{0FF4C804-F590-4101-A221-F15B95F79808}" destId="{45D12000-0D68-43D8-886A-19583409DA1E}" srcOrd="0" destOrd="0" presId="urn:microsoft.com/office/officeart/2008/layout/HorizontalMultiLevelHierarchy"/>
    <dgm:cxn modelId="{4CCFB78B-9A65-4665-81E2-99C8D5ECC2C4}" type="presOf" srcId="{8B869A8D-D5F4-4397-8A2C-8ED06EAA2F19}" destId="{BA12036D-BB0D-4707-BA86-554565E0C513}" srcOrd="0" destOrd="0" presId="urn:microsoft.com/office/officeart/2008/layout/HorizontalMultiLevelHierarchy"/>
    <dgm:cxn modelId="{A66A4184-1338-4B8D-B616-351317406802}" type="presOf" srcId="{D56AD2A0-F64F-4255-B0F4-5E5C92298BF9}" destId="{633AA4ED-6B76-408B-8C7D-E4F7D3210715}" srcOrd="0" destOrd="0" presId="urn:microsoft.com/office/officeart/2008/layout/HorizontalMultiLevelHierarchy"/>
    <dgm:cxn modelId="{7ED53E6E-7364-49F8-9B4C-6F50BE389874}" type="presOf" srcId="{E7F1243F-5939-4496-8B8B-6D652C437068}" destId="{0D28CA98-59D7-4B14-A205-E77B66B3E1C1}" srcOrd="0" destOrd="0" presId="urn:microsoft.com/office/officeart/2008/layout/HorizontalMultiLevelHierarchy"/>
    <dgm:cxn modelId="{4163F754-EA38-49E9-B214-BAE17F40C968}" type="presOf" srcId="{322EF7D2-D6F9-433C-A2A8-E31462E10794}" destId="{5E3E6EA1-B492-4360-96E7-86D1699A0B54}" srcOrd="1" destOrd="0" presId="urn:microsoft.com/office/officeart/2008/layout/HorizontalMultiLevelHierarchy"/>
    <dgm:cxn modelId="{41415434-1F32-47DD-8B54-51614EDE23A3}" type="presOf" srcId="{58B5C10A-C3A2-4161-9828-D95F45FE57AA}" destId="{6B6BB344-AC4D-4C8F-95BD-0E1C533BAD89}" srcOrd="0" destOrd="0" presId="urn:microsoft.com/office/officeart/2008/layout/HorizontalMultiLevelHierarchy"/>
    <dgm:cxn modelId="{B7EC1884-0E0F-4695-9812-5DD8B1F6E865}" srcId="{E7F1243F-5939-4496-8B8B-6D652C437068}" destId="{0FF4C804-F590-4101-A221-F15B95F79808}" srcOrd="0" destOrd="0" parTransId="{D56AD2A0-F64F-4255-B0F4-5E5C92298BF9}" sibTransId="{89AE5605-CD81-477A-B81A-14BFD519947D}"/>
    <dgm:cxn modelId="{F5A7364A-7C20-463D-AB04-53A25D6F6D20}" type="presOf" srcId="{D56AD2A0-F64F-4255-B0F4-5E5C92298BF9}" destId="{94DCCB71-98EA-41BE-B9BB-A1DDC7388C45}" srcOrd="1" destOrd="0" presId="urn:microsoft.com/office/officeart/2008/layout/HorizontalMultiLevelHierarchy"/>
    <dgm:cxn modelId="{9119D3BE-ED8D-4247-903F-00C33EE65763}" type="presOf" srcId="{798D37D4-CC11-4978-9B65-8EB6B735ED10}" destId="{842F16EE-477F-4CD9-B580-0C7E21392724}" srcOrd="0" destOrd="0" presId="urn:microsoft.com/office/officeart/2008/layout/HorizontalMultiLevelHierarchy"/>
    <dgm:cxn modelId="{E15BCC36-7546-463C-BF58-2E5CB508E760}" type="presOf" srcId="{322EF7D2-D6F9-433C-A2A8-E31462E10794}" destId="{F3CDD584-C9D8-41B7-8A20-2F9B6C70A375}" srcOrd="0" destOrd="0" presId="urn:microsoft.com/office/officeart/2008/layout/HorizontalMultiLevelHierarchy"/>
    <dgm:cxn modelId="{4A39A854-633F-4978-9C43-FBECBD6D4898}" type="presOf" srcId="{11FE58DD-BC9C-4463-AA2C-ABA3DC8375C7}" destId="{73BF00F7-DAFD-4C28-B447-5BB9C3DD17B3}" srcOrd="0" destOrd="0" presId="urn:microsoft.com/office/officeart/2008/layout/HorizontalMultiLevelHierarchy"/>
    <dgm:cxn modelId="{23DFC89B-D1AE-44AD-BD06-B56873419A9B}" srcId="{E7F1243F-5939-4496-8B8B-6D652C437068}" destId="{11FE58DD-BC9C-4463-AA2C-ABA3DC8375C7}" srcOrd="2" destOrd="0" parTransId="{798D37D4-CC11-4978-9B65-8EB6B735ED10}" sibTransId="{68105CAE-DA77-4E4F-A312-BD92E02DF0D0}"/>
    <dgm:cxn modelId="{272C0E6F-CE97-409F-AC97-7D3DEFCDEB8C}" srcId="{E7F1243F-5939-4496-8B8B-6D652C437068}" destId="{8B869A8D-D5F4-4397-8A2C-8ED06EAA2F19}" srcOrd="1" destOrd="0" parTransId="{322EF7D2-D6F9-433C-A2A8-E31462E10794}" sibTransId="{219FC35C-51BE-45C7-ADAF-DD0C3F915CBA}"/>
    <dgm:cxn modelId="{A45CD2A5-6D3B-48E7-ACC6-FAF049E91111}" type="presOf" srcId="{798D37D4-CC11-4978-9B65-8EB6B735ED10}" destId="{4D69D911-9D5C-45B7-BC28-853FFB635752}" srcOrd="1" destOrd="0" presId="urn:microsoft.com/office/officeart/2008/layout/HorizontalMultiLevelHierarchy"/>
    <dgm:cxn modelId="{157C62C6-4878-4A2A-9FA6-7BF7709438FF}" srcId="{58B5C10A-C3A2-4161-9828-D95F45FE57AA}" destId="{E7F1243F-5939-4496-8B8B-6D652C437068}" srcOrd="0" destOrd="0" parTransId="{3382732B-FC82-4D75-BB18-57567FD9DBBF}" sibTransId="{AB65D03C-A628-4BC3-9942-EFB244354752}"/>
    <dgm:cxn modelId="{47A072B1-5379-4741-8ED3-B70490AF505B}" type="presParOf" srcId="{6B6BB344-AC4D-4C8F-95BD-0E1C533BAD89}" destId="{C6686396-A088-4886-B4AD-CB046EE2104F}" srcOrd="0" destOrd="0" presId="urn:microsoft.com/office/officeart/2008/layout/HorizontalMultiLevelHierarchy"/>
    <dgm:cxn modelId="{D1ED2C77-AFFB-4BDF-B893-474DA16BE290}" type="presParOf" srcId="{C6686396-A088-4886-B4AD-CB046EE2104F}" destId="{0D28CA98-59D7-4B14-A205-E77B66B3E1C1}" srcOrd="0" destOrd="0" presId="urn:microsoft.com/office/officeart/2008/layout/HorizontalMultiLevelHierarchy"/>
    <dgm:cxn modelId="{D0DF8076-3F7F-4A5E-B08C-FDA283CA8646}" type="presParOf" srcId="{C6686396-A088-4886-B4AD-CB046EE2104F}" destId="{0305F1B8-6157-4492-8F35-FDFD69C0CB0B}" srcOrd="1" destOrd="0" presId="urn:microsoft.com/office/officeart/2008/layout/HorizontalMultiLevelHierarchy"/>
    <dgm:cxn modelId="{0120CE3F-3B2C-45DA-B05D-4FC7AAA4C744}" type="presParOf" srcId="{0305F1B8-6157-4492-8F35-FDFD69C0CB0B}" destId="{633AA4ED-6B76-408B-8C7D-E4F7D3210715}" srcOrd="0" destOrd="0" presId="urn:microsoft.com/office/officeart/2008/layout/HorizontalMultiLevelHierarchy"/>
    <dgm:cxn modelId="{0B4E4D5B-0D0A-4DE2-B235-7463ED90AB19}" type="presParOf" srcId="{633AA4ED-6B76-408B-8C7D-E4F7D3210715}" destId="{94DCCB71-98EA-41BE-B9BB-A1DDC7388C45}" srcOrd="0" destOrd="0" presId="urn:microsoft.com/office/officeart/2008/layout/HorizontalMultiLevelHierarchy"/>
    <dgm:cxn modelId="{AA861C54-8D7C-421E-9F00-41CB8EB6B970}" type="presParOf" srcId="{0305F1B8-6157-4492-8F35-FDFD69C0CB0B}" destId="{03B9DBA7-EED0-4DA6-B964-7AA641F43FF2}" srcOrd="1" destOrd="0" presId="urn:microsoft.com/office/officeart/2008/layout/HorizontalMultiLevelHierarchy"/>
    <dgm:cxn modelId="{B2963D25-D8C3-48D0-8F18-FCCB15AF37FC}" type="presParOf" srcId="{03B9DBA7-EED0-4DA6-B964-7AA641F43FF2}" destId="{45D12000-0D68-43D8-886A-19583409DA1E}" srcOrd="0" destOrd="0" presId="urn:microsoft.com/office/officeart/2008/layout/HorizontalMultiLevelHierarchy"/>
    <dgm:cxn modelId="{4B43A808-D379-4414-95B4-FEDF5F9EEB5E}" type="presParOf" srcId="{03B9DBA7-EED0-4DA6-B964-7AA641F43FF2}" destId="{D2B1C60F-214E-4FBA-B227-BC6B38490A8F}" srcOrd="1" destOrd="0" presId="urn:microsoft.com/office/officeart/2008/layout/HorizontalMultiLevelHierarchy"/>
    <dgm:cxn modelId="{38B8A2F8-084E-4114-A990-E9F5082F4FD9}" type="presParOf" srcId="{0305F1B8-6157-4492-8F35-FDFD69C0CB0B}" destId="{F3CDD584-C9D8-41B7-8A20-2F9B6C70A375}" srcOrd="2" destOrd="0" presId="urn:microsoft.com/office/officeart/2008/layout/HorizontalMultiLevelHierarchy"/>
    <dgm:cxn modelId="{92F31884-4C9B-4865-A948-1386B4C606A3}" type="presParOf" srcId="{F3CDD584-C9D8-41B7-8A20-2F9B6C70A375}" destId="{5E3E6EA1-B492-4360-96E7-86D1699A0B54}" srcOrd="0" destOrd="0" presId="urn:microsoft.com/office/officeart/2008/layout/HorizontalMultiLevelHierarchy"/>
    <dgm:cxn modelId="{46816494-B564-45C1-8A90-A0638A6233E1}" type="presParOf" srcId="{0305F1B8-6157-4492-8F35-FDFD69C0CB0B}" destId="{52DFC26E-1265-4CFC-852A-B40F8B58488C}" srcOrd="3" destOrd="0" presId="urn:microsoft.com/office/officeart/2008/layout/HorizontalMultiLevelHierarchy"/>
    <dgm:cxn modelId="{DF0EE5F1-2822-4C37-92FC-68609562E149}" type="presParOf" srcId="{52DFC26E-1265-4CFC-852A-B40F8B58488C}" destId="{BA12036D-BB0D-4707-BA86-554565E0C513}" srcOrd="0" destOrd="0" presId="urn:microsoft.com/office/officeart/2008/layout/HorizontalMultiLevelHierarchy"/>
    <dgm:cxn modelId="{726A9235-2F7F-460D-8CBA-33E846B27C6D}" type="presParOf" srcId="{52DFC26E-1265-4CFC-852A-B40F8B58488C}" destId="{0794F85C-A7F0-4819-AEE7-66F507F4B607}" srcOrd="1" destOrd="0" presId="urn:microsoft.com/office/officeart/2008/layout/HorizontalMultiLevelHierarchy"/>
    <dgm:cxn modelId="{38BCBAF9-EAE4-4AE8-961F-38238B7429EF}" type="presParOf" srcId="{0305F1B8-6157-4492-8F35-FDFD69C0CB0B}" destId="{842F16EE-477F-4CD9-B580-0C7E21392724}" srcOrd="4" destOrd="0" presId="urn:microsoft.com/office/officeart/2008/layout/HorizontalMultiLevelHierarchy"/>
    <dgm:cxn modelId="{335B21CB-0274-408A-A121-4A10CFE960A9}" type="presParOf" srcId="{842F16EE-477F-4CD9-B580-0C7E21392724}" destId="{4D69D911-9D5C-45B7-BC28-853FFB635752}" srcOrd="0" destOrd="0" presId="urn:microsoft.com/office/officeart/2008/layout/HorizontalMultiLevelHierarchy"/>
    <dgm:cxn modelId="{EBC9809A-B7E9-423A-BF70-30E44B4E28ED}" type="presParOf" srcId="{0305F1B8-6157-4492-8F35-FDFD69C0CB0B}" destId="{5EF3A40E-5493-461F-96E7-6D8568995247}" srcOrd="5" destOrd="0" presId="urn:microsoft.com/office/officeart/2008/layout/HorizontalMultiLevelHierarchy"/>
    <dgm:cxn modelId="{471D87C8-EB8F-4CCD-B408-10D52E7B28DA}" type="presParOf" srcId="{5EF3A40E-5493-461F-96E7-6D8568995247}" destId="{73BF00F7-DAFD-4C28-B447-5BB9C3DD17B3}" srcOrd="0" destOrd="0" presId="urn:microsoft.com/office/officeart/2008/layout/HorizontalMultiLevelHierarchy"/>
    <dgm:cxn modelId="{56F60454-803D-48E1-9951-21EF87F90621}" type="presParOf" srcId="{5EF3A40E-5493-461F-96E7-6D8568995247}" destId="{AFAC1DEE-61A5-41C1-94F0-C5ADF4A77E35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6A280BC-6AD2-4FA8-B9A9-EC56DD138FED}" type="doc">
      <dgm:prSet loTypeId="urn:microsoft.com/office/officeart/2005/8/layout/process4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60575074-B11B-4F1F-87D7-D9EDCAB22927}">
      <dgm:prSet phldrT="[Text]"/>
      <dgm:spPr/>
      <dgm:t>
        <a:bodyPr/>
        <a:lstStyle/>
        <a:p>
          <a:r>
            <a:rPr lang="en-US" dirty="0" smtClean="0"/>
            <a:t>Personal Accounts</a:t>
          </a:r>
          <a:endParaRPr lang="en-US" dirty="0"/>
        </a:p>
      </dgm:t>
    </dgm:pt>
    <dgm:pt modelId="{C1F22DCF-B9A4-4042-9B55-340802DE4961}" type="parTrans" cxnId="{CE77100F-631F-4AA4-B680-4777441F58DC}">
      <dgm:prSet/>
      <dgm:spPr/>
      <dgm:t>
        <a:bodyPr/>
        <a:lstStyle/>
        <a:p>
          <a:endParaRPr lang="en-US"/>
        </a:p>
      </dgm:t>
    </dgm:pt>
    <dgm:pt modelId="{946BB157-99CA-494D-B751-AABF46F5E82B}" type="sibTrans" cxnId="{CE77100F-631F-4AA4-B680-4777441F58DC}">
      <dgm:prSet/>
      <dgm:spPr/>
      <dgm:t>
        <a:bodyPr/>
        <a:lstStyle/>
        <a:p>
          <a:endParaRPr lang="en-US"/>
        </a:p>
      </dgm:t>
    </dgm:pt>
    <dgm:pt modelId="{D379BAB1-794F-4169-A6EC-7C43B930112F}">
      <dgm:prSet phldrT="[Text]"/>
      <dgm:spPr/>
      <dgm:t>
        <a:bodyPr/>
        <a:lstStyle/>
        <a:p>
          <a:r>
            <a:rPr lang="en-US" dirty="0" smtClean="0"/>
            <a:t>Debit the Receiver</a:t>
          </a:r>
          <a:endParaRPr lang="en-US" dirty="0"/>
        </a:p>
      </dgm:t>
    </dgm:pt>
    <dgm:pt modelId="{C3D5BA14-445A-4915-B48D-FA51A3609735}" type="parTrans" cxnId="{5EF139E1-47F3-44D2-A2AA-B8182540AF80}">
      <dgm:prSet/>
      <dgm:spPr/>
      <dgm:t>
        <a:bodyPr/>
        <a:lstStyle/>
        <a:p>
          <a:endParaRPr lang="en-US"/>
        </a:p>
      </dgm:t>
    </dgm:pt>
    <dgm:pt modelId="{C6DF6DCF-DA2E-446B-ABB8-398DB639A684}" type="sibTrans" cxnId="{5EF139E1-47F3-44D2-A2AA-B8182540AF80}">
      <dgm:prSet/>
      <dgm:spPr/>
      <dgm:t>
        <a:bodyPr/>
        <a:lstStyle/>
        <a:p>
          <a:endParaRPr lang="en-US"/>
        </a:p>
      </dgm:t>
    </dgm:pt>
    <dgm:pt modelId="{516F33DC-89B2-4469-B37C-0D32581C55CA}">
      <dgm:prSet phldrT="[Text]"/>
      <dgm:spPr/>
      <dgm:t>
        <a:bodyPr/>
        <a:lstStyle/>
        <a:p>
          <a:r>
            <a:rPr lang="en-US" dirty="0" smtClean="0"/>
            <a:t>Credit the Giver</a:t>
          </a:r>
          <a:endParaRPr lang="en-US" dirty="0"/>
        </a:p>
      </dgm:t>
    </dgm:pt>
    <dgm:pt modelId="{B904370F-EBBD-4231-8089-08ACA39D528C}" type="parTrans" cxnId="{0033A5E8-CFCB-4F1D-A28D-5163124F9780}">
      <dgm:prSet/>
      <dgm:spPr/>
      <dgm:t>
        <a:bodyPr/>
        <a:lstStyle/>
        <a:p>
          <a:endParaRPr lang="en-US"/>
        </a:p>
      </dgm:t>
    </dgm:pt>
    <dgm:pt modelId="{C3ABDA6E-3C1B-480F-BCA8-276FE9E96640}" type="sibTrans" cxnId="{0033A5E8-CFCB-4F1D-A28D-5163124F9780}">
      <dgm:prSet/>
      <dgm:spPr/>
      <dgm:t>
        <a:bodyPr/>
        <a:lstStyle/>
        <a:p>
          <a:endParaRPr lang="en-US"/>
        </a:p>
      </dgm:t>
    </dgm:pt>
    <dgm:pt modelId="{9F1BBC4A-786C-465B-B6D5-5C6C6E674840}">
      <dgm:prSet phldrT="[Text]"/>
      <dgm:spPr/>
      <dgm:t>
        <a:bodyPr/>
        <a:lstStyle/>
        <a:p>
          <a:r>
            <a:rPr lang="en-US" dirty="0" smtClean="0"/>
            <a:t>Real Accounts</a:t>
          </a:r>
          <a:endParaRPr lang="en-US" dirty="0"/>
        </a:p>
      </dgm:t>
    </dgm:pt>
    <dgm:pt modelId="{2F7A05C6-E197-4BBB-BD0D-0C4B95841086}" type="parTrans" cxnId="{F0BF9209-1FBB-4DAE-BFAA-AD766A4D3F06}">
      <dgm:prSet/>
      <dgm:spPr/>
      <dgm:t>
        <a:bodyPr/>
        <a:lstStyle/>
        <a:p>
          <a:endParaRPr lang="en-US"/>
        </a:p>
      </dgm:t>
    </dgm:pt>
    <dgm:pt modelId="{8104CE3F-9193-4B62-8B2E-AE3EA76DAAE6}" type="sibTrans" cxnId="{F0BF9209-1FBB-4DAE-BFAA-AD766A4D3F06}">
      <dgm:prSet/>
      <dgm:spPr/>
      <dgm:t>
        <a:bodyPr/>
        <a:lstStyle/>
        <a:p>
          <a:endParaRPr lang="en-US"/>
        </a:p>
      </dgm:t>
    </dgm:pt>
    <dgm:pt modelId="{453D43D9-C295-4857-92E9-9E2DC6ACE255}">
      <dgm:prSet phldrT="[Text]"/>
      <dgm:spPr/>
      <dgm:t>
        <a:bodyPr/>
        <a:lstStyle/>
        <a:p>
          <a:r>
            <a:rPr lang="en-US" dirty="0" smtClean="0"/>
            <a:t>Debit what Comes in</a:t>
          </a:r>
          <a:endParaRPr lang="en-US" dirty="0"/>
        </a:p>
      </dgm:t>
    </dgm:pt>
    <dgm:pt modelId="{40B51D36-AA4D-4643-9AF2-0B4A82EB030D}" type="parTrans" cxnId="{6381DADA-E6A4-49B9-8385-B29C4F916FFE}">
      <dgm:prSet/>
      <dgm:spPr/>
      <dgm:t>
        <a:bodyPr/>
        <a:lstStyle/>
        <a:p>
          <a:endParaRPr lang="en-US"/>
        </a:p>
      </dgm:t>
    </dgm:pt>
    <dgm:pt modelId="{21C6C1EA-D9E9-497F-ACE0-3A04360D83F3}" type="sibTrans" cxnId="{6381DADA-E6A4-49B9-8385-B29C4F916FFE}">
      <dgm:prSet/>
      <dgm:spPr/>
      <dgm:t>
        <a:bodyPr/>
        <a:lstStyle/>
        <a:p>
          <a:endParaRPr lang="en-US"/>
        </a:p>
      </dgm:t>
    </dgm:pt>
    <dgm:pt modelId="{70206636-14AD-4BBA-83AE-666E5807E038}">
      <dgm:prSet phldrT="[Text]"/>
      <dgm:spPr/>
      <dgm:t>
        <a:bodyPr/>
        <a:lstStyle/>
        <a:p>
          <a:r>
            <a:rPr lang="en-US" dirty="0" smtClean="0"/>
            <a:t>Credit what Goes out</a:t>
          </a:r>
          <a:endParaRPr lang="en-US" dirty="0"/>
        </a:p>
      </dgm:t>
    </dgm:pt>
    <dgm:pt modelId="{82AB787F-A2F4-4C87-A66D-D225EAA4B6BC}" type="parTrans" cxnId="{73B234BB-1E08-485F-837B-A800522CDE21}">
      <dgm:prSet/>
      <dgm:spPr/>
      <dgm:t>
        <a:bodyPr/>
        <a:lstStyle/>
        <a:p>
          <a:endParaRPr lang="en-US"/>
        </a:p>
      </dgm:t>
    </dgm:pt>
    <dgm:pt modelId="{378F86BF-9F2C-4360-AF38-ABDE601FA64B}" type="sibTrans" cxnId="{73B234BB-1E08-485F-837B-A800522CDE21}">
      <dgm:prSet/>
      <dgm:spPr/>
      <dgm:t>
        <a:bodyPr/>
        <a:lstStyle/>
        <a:p>
          <a:endParaRPr lang="en-US"/>
        </a:p>
      </dgm:t>
    </dgm:pt>
    <dgm:pt modelId="{843A9A91-6F1A-456E-8C28-209DF00810FC}">
      <dgm:prSet phldrT="[Text]"/>
      <dgm:spPr/>
      <dgm:t>
        <a:bodyPr/>
        <a:lstStyle/>
        <a:p>
          <a:r>
            <a:rPr lang="en-US" dirty="0" smtClean="0"/>
            <a:t>Nominal Accounts</a:t>
          </a:r>
          <a:endParaRPr lang="en-US" dirty="0"/>
        </a:p>
      </dgm:t>
    </dgm:pt>
    <dgm:pt modelId="{4357A6DC-5B3B-45E8-BF70-513E46B46D59}" type="parTrans" cxnId="{CD7622EC-CABD-414E-A983-5C0779E39ED2}">
      <dgm:prSet/>
      <dgm:spPr/>
      <dgm:t>
        <a:bodyPr/>
        <a:lstStyle/>
        <a:p>
          <a:endParaRPr lang="en-US"/>
        </a:p>
      </dgm:t>
    </dgm:pt>
    <dgm:pt modelId="{6565C5FF-03A3-4470-92DC-75111662E710}" type="sibTrans" cxnId="{CD7622EC-CABD-414E-A983-5C0779E39ED2}">
      <dgm:prSet/>
      <dgm:spPr/>
      <dgm:t>
        <a:bodyPr/>
        <a:lstStyle/>
        <a:p>
          <a:endParaRPr lang="en-US"/>
        </a:p>
      </dgm:t>
    </dgm:pt>
    <dgm:pt modelId="{CCC4EACF-6E67-496F-B2DF-B984587E6A8B}">
      <dgm:prSet phldrT="[Text]"/>
      <dgm:spPr/>
      <dgm:t>
        <a:bodyPr/>
        <a:lstStyle/>
        <a:p>
          <a:r>
            <a:rPr lang="en-US" dirty="0" smtClean="0"/>
            <a:t>Debit Expenses &amp; Losses</a:t>
          </a:r>
          <a:endParaRPr lang="en-US" dirty="0"/>
        </a:p>
      </dgm:t>
    </dgm:pt>
    <dgm:pt modelId="{CE24220F-7A78-44F7-A732-9AA5D3FF3C33}" type="parTrans" cxnId="{F46DD89D-1BA3-42E2-ADB4-00A473FEFCE1}">
      <dgm:prSet/>
      <dgm:spPr/>
      <dgm:t>
        <a:bodyPr/>
        <a:lstStyle/>
        <a:p>
          <a:endParaRPr lang="en-US"/>
        </a:p>
      </dgm:t>
    </dgm:pt>
    <dgm:pt modelId="{6763A7EE-1753-4A9B-B4AF-516EB507E1DC}" type="sibTrans" cxnId="{F46DD89D-1BA3-42E2-ADB4-00A473FEFCE1}">
      <dgm:prSet/>
      <dgm:spPr/>
      <dgm:t>
        <a:bodyPr/>
        <a:lstStyle/>
        <a:p>
          <a:endParaRPr lang="en-US"/>
        </a:p>
      </dgm:t>
    </dgm:pt>
    <dgm:pt modelId="{AD5D0E95-B602-4C4A-8A8E-DEFAC6DE5268}">
      <dgm:prSet phldrT="[Text]"/>
      <dgm:spPr/>
      <dgm:t>
        <a:bodyPr/>
        <a:lstStyle/>
        <a:p>
          <a:r>
            <a:rPr lang="en-US" dirty="0" smtClean="0"/>
            <a:t>Credit Incomes &amp; Gains</a:t>
          </a:r>
          <a:endParaRPr lang="en-US" dirty="0"/>
        </a:p>
      </dgm:t>
    </dgm:pt>
    <dgm:pt modelId="{DB0C7873-9554-4E6A-9702-2CB1FBFA7DAA}" type="parTrans" cxnId="{F353097E-9395-4FFD-AF47-B7EB692440B6}">
      <dgm:prSet/>
      <dgm:spPr/>
      <dgm:t>
        <a:bodyPr/>
        <a:lstStyle/>
        <a:p>
          <a:endParaRPr lang="en-US"/>
        </a:p>
      </dgm:t>
    </dgm:pt>
    <dgm:pt modelId="{1BDBF913-018F-4BD1-AD8E-184533ADCC4F}" type="sibTrans" cxnId="{F353097E-9395-4FFD-AF47-B7EB692440B6}">
      <dgm:prSet/>
      <dgm:spPr/>
      <dgm:t>
        <a:bodyPr/>
        <a:lstStyle/>
        <a:p>
          <a:endParaRPr lang="en-US"/>
        </a:p>
      </dgm:t>
    </dgm:pt>
    <dgm:pt modelId="{FB0A099A-48E8-4803-AC1F-DEB1AA0483A0}" type="pres">
      <dgm:prSet presAssocID="{C6A280BC-6AD2-4FA8-B9A9-EC56DD138FE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D70BB5D-6BC8-4467-B1CE-5A56267AB625}" type="pres">
      <dgm:prSet presAssocID="{843A9A91-6F1A-456E-8C28-209DF00810FC}" presName="boxAndChildren" presStyleCnt="0"/>
      <dgm:spPr/>
    </dgm:pt>
    <dgm:pt modelId="{F3A0F64E-96FB-4A9E-BC3F-6B3A2B16788B}" type="pres">
      <dgm:prSet presAssocID="{843A9A91-6F1A-456E-8C28-209DF00810FC}" presName="parentTextBox" presStyleLbl="node1" presStyleIdx="0" presStyleCnt="3"/>
      <dgm:spPr/>
      <dgm:t>
        <a:bodyPr/>
        <a:lstStyle/>
        <a:p>
          <a:endParaRPr lang="en-US"/>
        </a:p>
      </dgm:t>
    </dgm:pt>
    <dgm:pt modelId="{22FDCEAB-84B2-43E8-9F7E-B25FA99BEFD6}" type="pres">
      <dgm:prSet presAssocID="{843A9A91-6F1A-456E-8C28-209DF00810FC}" presName="entireBox" presStyleLbl="node1" presStyleIdx="0" presStyleCnt="3"/>
      <dgm:spPr/>
      <dgm:t>
        <a:bodyPr/>
        <a:lstStyle/>
        <a:p>
          <a:endParaRPr lang="en-US"/>
        </a:p>
      </dgm:t>
    </dgm:pt>
    <dgm:pt modelId="{0E3BBF8E-8509-413B-87A3-426AD873ADAA}" type="pres">
      <dgm:prSet presAssocID="{843A9A91-6F1A-456E-8C28-209DF00810FC}" presName="descendantBox" presStyleCnt="0"/>
      <dgm:spPr/>
    </dgm:pt>
    <dgm:pt modelId="{B09EA6D1-D6FF-4166-B7E6-1D5211B95AC3}" type="pres">
      <dgm:prSet presAssocID="{CCC4EACF-6E67-496F-B2DF-B984587E6A8B}" presName="childTextBox" presStyleLbl="fgAccFollow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AA02F1-13A0-474F-9FC7-FB0B1ACB9888}" type="pres">
      <dgm:prSet presAssocID="{AD5D0E95-B602-4C4A-8A8E-DEFAC6DE5268}" presName="childTextBox" presStyleLbl="fgAccFollow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7B0DB11-63D5-4C33-8D8A-E9D95A21BED7}" type="pres">
      <dgm:prSet presAssocID="{8104CE3F-9193-4B62-8B2E-AE3EA76DAAE6}" presName="sp" presStyleCnt="0"/>
      <dgm:spPr/>
    </dgm:pt>
    <dgm:pt modelId="{9DE6AA2D-1465-42E6-9DA0-A8DC34CB325E}" type="pres">
      <dgm:prSet presAssocID="{9F1BBC4A-786C-465B-B6D5-5C6C6E674840}" presName="arrowAndChildren" presStyleCnt="0"/>
      <dgm:spPr/>
    </dgm:pt>
    <dgm:pt modelId="{E03B73E2-0595-4F09-84FE-DED7C65212B0}" type="pres">
      <dgm:prSet presAssocID="{9F1BBC4A-786C-465B-B6D5-5C6C6E674840}" presName="parentTextArrow" presStyleLbl="node1" presStyleIdx="0" presStyleCnt="3"/>
      <dgm:spPr/>
      <dgm:t>
        <a:bodyPr/>
        <a:lstStyle/>
        <a:p>
          <a:endParaRPr lang="en-US"/>
        </a:p>
      </dgm:t>
    </dgm:pt>
    <dgm:pt modelId="{9CD667F4-DFEC-41F9-AFD5-00CFAFFB94DE}" type="pres">
      <dgm:prSet presAssocID="{9F1BBC4A-786C-465B-B6D5-5C6C6E674840}" presName="arrow" presStyleLbl="node1" presStyleIdx="1" presStyleCnt="3"/>
      <dgm:spPr/>
      <dgm:t>
        <a:bodyPr/>
        <a:lstStyle/>
        <a:p>
          <a:endParaRPr lang="en-US"/>
        </a:p>
      </dgm:t>
    </dgm:pt>
    <dgm:pt modelId="{B6A317C6-DC45-4B53-AF67-BA3A6E3382C0}" type="pres">
      <dgm:prSet presAssocID="{9F1BBC4A-786C-465B-B6D5-5C6C6E674840}" presName="descendantArrow" presStyleCnt="0"/>
      <dgm:spPr/>
    </dgm:pt>
    <dgm:pt modelId="{CD4F4086-DD7A-40C7-B718-280986123BAC}" type="pres">
      <dgm:prSet presAssocID="{453D43D9-C295-4857-92E9-9E2DC6ACE255}" presName="childTextArrow" presStyleLbl="fgAccFollow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CE5069D-A416-47A1-A2FF-E8A1D537A325}" type="pres">
      <dgm:prSet presAssocID="{70206636-14AD-4BBA-83AE-666E5807E038}" presName="childTextArrow" presStyleLbl="fgAccFollow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05E7217-A856-4770-901D-5137BBC3C5FC}" type="pres">
      <dgm:prSet presAssocID="{946BB157-99CA-494D-B751-AABF46F5E82B}" presName="sp" presStyleCnt="0"/>
      <dgm:spPr/>
    </dgm:pt>
    <dgm:pt modelId="{F63A41A9-8247-4309-9594-1F3BEFC8E78D}" type="pres">
      <dgm:prSet presAssocID="{60575074-B11B-4F1F-87D7-D9EDCAB22927}" presName="arrowAndChildren" presStyleCnt="0"/>
      <dgm:spPr/>
    </dgm:pt>
    <dgm:pt modelId="{0D429F41-FD16-4002-AE8A-EE5DC17D12AE}" type="pres">
      <dgm:prSet presAssocID="{60575074-B11B-4F1F-87D7-D9EDCAB22927}" presName="parentTextArrow" presStyleLbl="node1" presStyleIdx="1" presStyleCnt="3"/>
      <dgm:spPr/>
      <dgm:t>
        <a:bodyPr/>
        <a:lstStyle/>
        <a:p>
          <a:endParaRPr lang="en-US"/>
        </a:p>
      </dgm:t>
    </dgm:pt>
    <dgm:pt modelId="{18DFF90D-FB10-4996-B940-295B8E9416AC}" type="pres">
      <dgm:prSet presAssocID="{60575074-B11B-4F1F-87D7-D9EDCAB22927}" presName="arrow" presStyleLbl="node1" presStyleIdx="2" presStyleCnt="3"/>
      <dgm:spPr/>
      <dgm:t>
        <a:bodyPr/>
        <a:lstStyle/>
        <a:p>
          <a:endParaRPr lang="en-US"/>
        </a:p>
      </dgm:t>
    </dgm:pt>
    <dgm:pt modelId="{AAF7213E-49BE-4D08-9180-9AA0A308E041}" type="pres">
      <dgm:prSet presAssocID="{60575074-B11B-4F1F-87D7-D9EDCAB22927}" presName="descendantArrow" presStyleCnt="0"/>
      <dgm:spPr/>
    </dgm:pt>
    <dgm:pt modelId="{03327B26-E75D-4DBD-9478-5B2172C871FB}" type="pres">
      <dgm:prSet presAssocID="{D379BAB1-794F-4169-A6EC-7C43B930112F}" presName="childTextArrow" presStyleLbl="fgAccFollow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2DDBAA-A669-4C52-B2D5-3A304D8AB48D}" type="pres">
      <dgm:prSet presAssocID="{516F33DC-89B2-4469-B37C-0D32581C55CA}" presName="childTextArrow" presStyleLbl="fgAccFollow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2F7871A-0141-407B-A9B2-356F28C0CE2D}" type="presOf" srcId="{70206636-14AD-4BBA-83AE-666E5807E038}" destId="{6CE5069D-A416-47A1-A2FF-E8A1D537A325}" srcOrd="0" destOrd="0" presId="urn:microsoft.com/office/officeart/2005/8/layout/process4"/>
    <dgm:cxn modelId="{F353097E-9395-4FFD-AF47-B7EB692440B6}" srcId="{843A9A91-6F1A-456E-8C28-209DF00810FC}" destId="{AD5D0E95-B602-4C4A-8A8E-DEFAC6DE5268}" srcOrd="1" destOrd="0" parTransId="{DB0C7873-9554-4E6A-9702-2CB1FBFA7DAA}" sibTransId="{1BDBF913-018F-4BD1-AD8E-184533ADCC4F}"/>
    <dgm:cxn modelId="{EA93B941-588D-41A1-B974-C2A64EE5EA59}" type="presOf" srcId="{D379BAB1-794F-4169-A6EC-7C43B930112F}" destId="{03327B26-E75D-4DBD-9478-5B2172C871FB}" srcOrd="0" destOrd="0" presId="urn:microsoft.com/office/officeart/2005/8/layout/process4"/>
    <dgm:cxn modelId="{73B234BB-1E08-485F-837B-A800522CDE21}" srcId="{9F1BBC4A-786C-465B-B6D5-5C6C6E674840}" destId="{70206636-14AD-4BBA-83AE-666E5807E038}" srcOrd="1" destOrd="0" parTransId="{82AB787F-A2F4-4C87-A66D-D225EAA4B6BC}" sibTransId="{378F86BF-9F2C-4360-AF38-ABDE601FA64B}"/>
    <dgm:cxn modelId="{F23C1269-88B1-4CEB-BF98-D0CD41D31090}" type="presOf" srcId="{C6A280BC-6AD2-4FA8-B9A9-EC56DD138FED}" destId="{FB0A099A-48E8-4803-AC1F-DEB1AA0483A0}" srcOrd="0" destOrd="0" presId="urn:microsoft.com/office/officeart/2005/8/layout/process4"/>
    <dgm:cxn modelId="{A630C2F3-BBD2-4691-ABA2-EFBE1098FE06}" type="presOf" srcId="{843A9A91-6F1A-456E-8C28-209DF00810FC}" destId="{F3A0F64E-96FB-4A9E-BC3F-6B3A2B16788B}" srcOrd="0" destOrd="0" presId="urn:microsoft.com/office/officeart/2005/8/layout/process4"/>
    <dgm:cxn modelId="{7877F3D0-EBC2-4295-A3CB-BFD7678B18A4}" type="presOf" srcId="{516F33DC-89B2-4469-B37C-0D32581C55CA}" destId="{0C2DDBAA-A669-4C52-B2D5-3A304D8AB48D}" srcOrd="0" destOrd="0" presId="urn:microsoft.com/office/officeart/2005/8/layout/process4"/>
    <dgm:cxn modelId="{9E066B87-93F6-4DA9-AD1E-F79FC9417BAD}" type="presOf" srcId="{9F1BBC4A-786C-465B-B6D5-5C6C6E674840}" destId="{E03B73E2-0595-4F09-84FE-DED7C65212B0}" srcOrd="0" destOrd="0" presId="urn:microsoft.com/office/officeart/2005/8/layout/process4"/>
    <dgm:cxn modelId="{CE77100F-631F-4AA4-B680-4777441F58DC}" srcId="{C6A280BC-6AD2-4FA8-B9A9-EC56DD138FED}" destId="{60575074-B11B-4F1F-87D7-D9EDCAB22927}" srcOrd="0" destOrd="0" parTransId="{C1F22DCF-B9A4-4042-9B55-340802DE4961}" sibTransId="{946BB157-99CA-494D-B751-AABF46F5E82B}"/>
    <dgm:cxn modelId="{F46DD89D-1BA3-42E2-ADB4-00A473FEFCE1}" srcId="{843A9A91-6F1A-456E-8C28-209DF00810FC}" destId="{CCC4EACF-6E67-496F-B2DF-B984587E6A8B}" srcOrd="0" destOrd="0" parTransId="{CE24220F-7A78-44F7-A732-9AA5D3FF3C33}" sibTransId="{6763A7EE-1753-4A9B-B4AF-516EB507E1DC}"/>
    <dgm:cxn modelId="{07E56789-CFD0-4015-8A1A-5FF9B2C20C35}" type="presOf" srcId="{453D43D9-C295-4857-92E9-9E2DC6ACE255}" destId="{CD4F4086-DD7A-40C7-B718-280986123BAC}" srcOrd="0" destOrd="0" presId="urn:microsoft.com/office/officeart/2005/8/layout/process4"/>
    <dgm:cxn modelId="{0033A5E8-CFCB-4F1D-A28D-5163124F9780}" srcId="{60575074-B11B-4F1F-87D7-D9EDCAB22927}" destId="{516F33DC-89B2-4469-B37C-0D32581C55CA}" srcOrd="1" destOrd="0" parTransId="{B904370F-EBBD-4231-8089-08ACA39D528C}" sibTransId="{C3ABDA6E-3C1B-480F-BCA8-276FE9E96640}"/>
    <dgm:cxn modelId="{6381DADA-E6A4-49B9-8385-B29C4F916FFE}" srcId="{9F1BBC4A-786C-465B-B6D5-5C6C6E674840}" destId="{453D43D9-C295-4857-92E9-9E2DC6ACE255}" srcOrd="0" destOrd="0" parTransId="{40B51D36-AA4D-4643-9AF2-0B4A82EB030D}" sibTransId="{21C6C1EA-D9E9-497F-ACE0-3A04360D83F3}"/>
    <dgm:cxn modelId="{5EF139E1-47F3-44D2-A2AA-B8182540AF80}" srcId="{60575074-B11B-4F1F-87D7-D9EDCAB22927}" destId="{D379BAB1-794F-4169-A6EC-7C43B930112F}" srcOrd="0" destOrd="0" parTransId="{C3D5BA14-445A-4915-B48D-FA51A3609735}" sibTransId="{C6DF6DCF-DA2E-446B-ABB8-398DB639A684}"/>
    <dgm:cxn modelId="{F0BF9209-1FBB-4DAE-BFAA-AD766A4D3F06}" srcId="{C6A280BC-6AD2-4FA8-B9A9-EC56DD138FED}" destId="{9F1BBC4A-786C-465B-B6D5-5C6C6E674840}" srcOrd="1" destOrd="0" parTransId="{2F7A05C6-E197-4BBB-BD0D-0C4B95841086}" sibTransId="{8104CE3F-9193-4B62-8B2E-AE3EA76DAAE6}"/>
    <dgm:cxn modelId="{F36F9F23-1AF5-4028-A1D5-53D510B1710F}" type="presOf" srcId="{843A9A91-6F1A-456E-8C28-209DF00810FC}" destId="{22FDCEAB-84B2-43E8-9F7E-B25FA99BEFD6}" srcOrd="1" destOrd="0" presId="urn:microsoft.com/office/officeart/2005/8/layout/process4"/>
    <dgm:cxn modelId="{01CDC2A1-B6B9-46B4-A7C7-BCB2E286B6EE}" type="presOf" srcId="{AD5D0E95-B602-4C4A-8A8E-DEFAC6DE5268}" destId="{29AA02F1-13A0-474F-9FC7-FB0B1ACB9888}" srcOrd="0" destOrd="0" presId="urn:microsoft.com/office/officeart/2005/8/layout/process4"/>
    <dgm:cxn modelId="{748310F8-CE55-40A7-8563-225032C153A2}" type="presOf" srcId="{60575074-B11B-4F1F-87D7-D9EDCAB22927}" destId="{18DFF90D-FB10-4996-B940-295B8E9416AC}" srcOrd="1" destOrd="0" presId="urn:microsoft.com/office/officeart/2005/8/layout/process4"/>
    <dgm:cxn modelId="{BDE6EC91-D694-400B-B52C-BD3FE7DA2850}" type="presOf" srcId="{9F1BBC4A-786C-465B-B6D5-5C6C6E674840}" destId="{9CD667F4-DFEC-41F9-AFD5-00CFAFFB94DE}" srcOrd="1" destOrd="0" presId="urn:microsoft.com/office/officeart/2005/8/layout/process4"/>
    <dgm:cxn modelId="{CD7622EC-CABD-414E-A983-5C0779E39ED2}" srcId="{C6A280BC-6AD2-4FA8-B9A9-EC56DD138FED}" destId="{843A9A91-6F1A-456E-8C28-209DF00810FC}" srcOrd="2" destOrd="0" parTransId="{4357A6DC-5B3B-45E8-BF70-513E46B46D59}" sibTransId="{6565C5FF-03A3-4470-92DC-75111662E710}"/>
    <dgm:cxn modelId="{8017F8D6-C6B6-4363-844F-BCB476687853}" type="presOf" srcId="{60575074-B11B-4F1F-87D7-D9EDCAB22927}" destId="{0D429F41-FD16-4002-AE8A-EE5DC17D12AE}" srcOrd="0" destOrd="0" presId="urn:microsoft.com/office/officeart/2005/8/layout/process4"/>
    <dgm:cxn modelId="{7FFBF4EC-1E81-4037-BD4E-0590D6853098}" type="presOf" srcId="{CCC4EACF-6E67-496F-B2DF-B984587E6A8B}" destId="{B09EA6D1-D6FF-4166-B7E6-1D5211B95AC3}" srcOrd="0" destOrd="0" presId="urn:microsoft.com/office/officeart/2005/8/layout/process4"/>
    <dgm:cxn modelId="{1363A0DF-7512-42B3-A1E9-55F3BD6059BB}" type="presParOf" srcId="{FB0A099A-48E8-4803-AC1F-DEB1AA0483A0}" destId="{ED70BB5D-6BC8-4467-B1CE-5A56267AB625}" srcOrd="0" destOrd="0" presId="urn:microsoft.com/office/officeart/2005/8/layout/process4"/>
    <dgm:cxn modelId="{73703054-FC2F-4E8B-9417-AF254A5CB670}" type="presParOf" srcId="{ED70BB5D-6BC8-4467-B1CE-5A56267AB625}" destId="{F3A0F64E-96FB-4A9E-BC3F-6B3A2B16788B}" srcOrd="0" destOrd="0" presId="urn:microsoft.com/office/officeart/2005/8/layout/process4"/>
    <dgm:cxn modelId="{2B2431B3-CD05-4277-9110-7B291072D260}" type="presParOf" srcId="{ED70BB5D-6BC8-4467-B1CE-5A56267AB625}" destId="{22FDCEAB-84B2-43E8-9F7E-B25FA99BEFD6}" srcOrd="1" destOrd="0" presId="urn:microsoft.com/office/officeart/2005/8/layout/process4"/>
    <dgm:cxn modelId="{67F3E5EC-0694-4EE5-9D5C-43F2DDDDDF62}" type="presParOf" srcId="{ED70BB5D-6BC8-4467-B1CE-5A56267AB625}" destId="{0E3BBF8E-8509-413B-87A3-426AD873ADAA}" srcOrd="2" destOrd="0" presId="urn:microsoft.com/office/officeart/2005/8/layout/process4"/>
    <dgm:cxn modelId="{8CF6E4F4-89A5-4971-89EE-14E1A5DA1312}" type="presParOf" srcId="{0E3BBF8E-8509-413B-87A3-426AD873ADAA}" destId="{B09EA6D1-D6FF-4166-B7E6-1D5211B95AC3}" srcOrd="0" destOrd="0" presId="urn:microsoft.com/office/officeart/2005/8/layout/process4"/>
    <dgm:cxn modelId="{C16DDC40-222B-41BB-8D4B-F4FDABCD954B}" type="presParOf" srcId="{0E3BBF8E-8509-413B-87A3-426AD873ADAA}" destId="{29AA02F1-13A0-474F-9FC7-FB0B1ACB9888}" srcOrd="1" destOrd="0" presId="urn:microsoft.com/office/officeart/2005/8/layout/process4"/>
    <dgm:cxn modelId="{A4D1E3FB-0D93-4018-B687-5DEF1AAB4954}" type="presParOf" srcId="{FB0A099A-48E8-4803-AC1F-DEB1AA0483A0}" destId="{37B0DB11-63D5-4C33-8D8A-E9D95A21BED7}" srcOrd="1" destOrd="0" presId="urn:microsoft.com/office/officeart/2005/8/layout/process4"/>
    <dgm:cxn modelId="{5526CC60-98F3-4177-A954-627D47509F7F}" type="presParOf" srcId="{FB0A099A-48E8-4803-AC1F-DEB1AA0483A0}" destId="{9DE6AA2D-1465-42E6-9DA0-A8DC34CB325E}" srcOrd="2" destOrd="0" presId="urn:microsoft.com/office/officeart/2005/8/layout/process4"/>
    <dgm:cxn modelId="{6950AD37-78FA-4EFD-BAAF-0F025C595BFD}" type="presParOf" srcId="{9DE6AA2D-1465-42E6-9DA0-A8DC34CB325E}" destId="{E03B73E2-0595-4F09-84FE-DED7C65212B0}" srcOrd="0" destOrd="0" presId="urn:microsoft.com/office/officeart/2005/8/layout/process4"/>
    <dgm:cxn modelId="{8F3E4D8A-4FDC-44DD-A30A-0A9CC81E8949}" type="presParOf" srcId="{9DE6AA2D-1465-42E6-9DA0-A8DC34CB325E}" destId="{9CD667F4-DFEC-41F9-AFD5-00CFAFFB94DE}" srcOrd="1" destOrd="0" presId="urn:microsoft.com/office/officeart/2005/8/layout/process4"/>
    <dgm:cxn modelId="{73BC3874-EC50-49D6-9692-E156E27F6A6C}" type="presParOf" srcId="{9DE6AA2D-1465-42E6-9DA0-A8DC34CB325E}" destId="{B6A317C6-DC45-4B53-AF67-BA3A6E3382C0}" srcOrd="2" destOrd="0" presId="urn:microsoft.com/office/officeart/2005/8/layout/process4"/>
    <dgm:cxn modelId="{17EC0D12-0554-4927-A741-D15F3FB04D34}" type="presParOf" srcId="{B6A317C6-DC45-4B53-AF67-BA3A6E3382C0}" destId="{CD4F4086-DD7A-40C7-B718-280986123BAC}" srcOrd="0" destOrd="0" presId="urn:microsoft.com/office/officeart/2005/8/layout/process4"/>
    <dgm:cxn modelId="{375BD2D1-CB2F-449A-9D67-BC46A92C30CC}" type="presParOf" srcId="{B6A317C6-DC45-4B53-AF67-BA3A6E3382C0}" destId="{6CE5069D-A416-47A1-A2FF-E8A1D537A325}" srcOrd="1" destOrd="0" presId="urn:microsoft.com/office/officeart/2005/8/layout/process4"/>
    <dgm:cxn modelId="{5561E4A6-0CFA-4D51-88AC-E90F3ED1E9F0}" type="presParOf" srcId="{FB0A099A-48E8-4803-AC1F-DEB1AA0483A0}" destId="{005E7217-A856-4770-901D-5137BBC3C5FC}" srcOrd="3" destOrd="0" presId="urn:microsoft.com/office/officeart/2005/8/layout/process4"/>
    <dgm:cxn modelId="{41541343-72A3-4F6A-97D0-550D5C34623C}" type="presParOf" srcId="{FB0A099A-48E8-4803-AC1F-DEB1AA0483A0}" destId="{F63A41A9-8247-4309-9594-1F3BEFC8E78D}" srcOrd="4" destOrd="0" presId="urn:microsoft.com/office/officeart/2005/8/layout/process4"/>
    <dgm:cxn modelId="{E04FA73C-F533-4159-9D77-9006BBD9AA4B}" type="presParOf" srcId="{F63A41A9-8247-4309-9594-1F3BEFC8E78D}" destId="{0D429F41-FD16-4002-AE8A-EE5DC17D12AE}" srcOrd="0" destOrd="0" presId="urn:microsoft.com/office/officeart/2005/8/layout/process4"/>
    <dgm:cxn modelId="{2DA07CD1-07D2-4BE2-88C6-D0FF48B67892}" type="presParOf" srcId="{F63A41A9-8247-4309-9594-1F3BEFC8E78D}" destId="{18DFF90D-FB10-4996-B940-295B8E9416AC}" srcOrd="1" destOrd="0" presId="urn:microsoft.com/office/officeart/2005/8/layout/process4"/>
    <dgm:cxn modelId="{53A6D232-637B-4318-821B-7B9B2D71EFEB}" type="presParOf" srcId="{F63A41A9-8247-4309-9594-1F3BEFC8E78D}" destId="{AAF7213E-49BE-4D08-9180-9AA0A308E041}" srcOrd="2" destOrd="0" presId="urn:microsoft.com/office/officeart/2005/8/layout/process4"/>
    <dgm:cxn modelId="{580AC50E-AF1B-47A1-97B0-803FF0B9B79A}" type="presParOf" srcId="{AAF7213E-49BE-4D08-9180-9AA0A308E041}" destId="{03327B26-E75D-4DBD-9478-5B2172C871FB}" srcOrd="0" destOrd="0" presId="urn:microsoft.com/office/officeart/2005/8/layout/process4"/>
    <dgm:cxn modelId="{8C00651F-EBAD-4741-9272-F66C53FC8837}" type="presParOf" srcId="{AAF7213E-49BE-4D08-9180-9AA0A308E041}" destId="{0C2DDBAA-A669-4C52-B2D5-3A304D8AB48D}" srcOrd="1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2F16EE-477F-4CD9-B580-0C7E21392724}">
      <dsp:nvSpPr>
        <dsp:cNvPr id="0" name=""/>
        <dsp:cNvSpPr/>
      </dsp:nvSpPr>
      <dsp:spPr>
        <a:xfrm>
          <a:off x="1711056" y="2032000"/>
          <a:ext cx="506536" cy="9651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53268" y="0"/>
              </a:lnTo>
              <a:lnTo>
                <a:pt x="253268" y="965199"/>
              </a:lnTo>
              <a:lnTo>
                <a:pt x="506536" y="96519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937073" y="2487348"/>
        <a:ext cx="54502" cy="54502"/>
      </dsp:txXfrm>
    </dsp:sp>
    <dsp:sp modelId="{F3CDD584-C9D8-41B7-8A20-2F9B6C70A375}">
      <dsp:nvSpPr>
        <dsp:cNvPr id="0" name=""/>
        <dsp:cNvSpPr/>
      </dsp:nvSpPr>
      <dsp:spPr>
        <a:xfrm>
          <a:off x="1711056" y="1986280"/>
          <a:ext cx="50653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06536" y="4572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951661" y="2019336"/>
        <a:ext cx="25326" cy="25326"/>
      </dsp:txXfrm>
    </dsp:sp>
    <dsp:sp modelId="{633AA4ED-6B76-408B-8C7D-E4F7D3210715}">
      <dsp:nvSpPr>
        <dsp:cNvPr id="0" name=""/>
        <dsp:cNvSpPr/>
      </dsp:nvSpPr>
      <dsp:spPr>
        <a:xfrm>
          <a:off x="1711056" y="1066799"/>
          <a:ext cx="506536" cy="965200"/>
        </a:xfrm>
        <a:custGeom>
          <a:avLst/>
          <a:gdLst/>
          <a:ahLst/>
          <a:cxnLst/>
          <a:rect l="0" t="0" r="0" b="0"/>
          <a:pathLst>
            <a:path>
              <a:moveTo>
                <a:pt x="0" y="965200"/>
              </a:moveTo>
              <a:lnTo>
                <a:pt x="253268" y="965200"/>
              </a:lnTo>
              <a:lnTo>
                <a:pt x="253268" y="0"/>
              </a:lnTo>
              <a:lnTo>
                <a:pt x="506536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937073" y="1522148"/>
        <a:ext cx="54502" cy="54502"/>
      </dsp:txXfrm>
    </dsp:sp>
    <dsp:sp modelId="{0D28CA98-59D7-4B14-A205-E77B66B3E1C1}">
      <dsp:nvSpPr>
        <dsp:cNvPr id="0" name=""/>
        <dsp:cNvSpPr/>
      </dsp:nvSpPr>
      <dsp:spPr>
        <a:xfrm rot="16200000">
          <a:off x="-707023" y="1645920"/>
          <a:ext cx="4064000" cy="7721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2222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0" kern="1200" dirty="0" smtClean="0"/>
            <a:t>ACCOUNTS</a:t>
          </a:r>
          <a:endParaRPr lang="en-US" sz="5000" kern="1200" dirty="0"/>
        </a:p>
      </dsp:txBody>
      <dsp:txXfrm>
        <a:off x="-707023" y="1645920"/>
        <a:ext cx="4064000" cy="772160"/>
      </dsp:txXfrm>
    </dsp:sp>
    <dsp:sp modelId="{45D12000-0D68-43D8-886A-19583409DA1E}">
      <dsp:nvSpPr>
        <dsp:cNvPr id="0" name=""/>
        <dsp:cNvSpPr/>
      </dsp:nvSpPr>
      <dsp:spPr>
        <a:xfrm>
          <a:off x="2217593" y="680719"/>
          <a:ext cx="2939509" cy="7721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Personal Accounts</a:t>
          </a:r>
          <a:endParaRPr lang="en-US" sz="2600" kern="1200" dirty="0"/>
        </a:p>
      </dsp:txBody>
      <dsp:txXfrm>
        <a:off x="2217593" y="680719"/>
        <a:ext cx="2939509" cy="772160"/>
      </dsp:txXfrm>
    </dsp:sp>
    <dsp:sp modelId="{BA12036D-BB0D-4707-BA86-554565E0C513}">
      <dsp:nvSpPr>
        <dsp:cNvPr id="0" name=""/>
        <dsp:cNvSpPr/>
      </dsp:nvSpPr>
      <dsp:spPr>
        <a:xfrm>
          <a:off x="2217593" y="1645920"/>
          <a:ext cx="2939509" cy="7721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Real Accounts</a:t>
          </a:r>
          <a:endParaRPr lang="en-US" sz="2600" kern="1200" dirty="0"/>
        </a:p>
      </dsp:txBody>
      <dsp:txXfrm>
        <a:off x="2217593" y="1645920"/>
        <a:ext cx="2939509" cy="772160"/>
      </dsp:txXfrm>
    </dsp:sp>
    <dsp:sp modelId="{73BF00F7-DAFD-4C28-B447-5BB9C3DD17B3}">
      <dsp:nvSpPr>
        <dsp:cNvPr id="0" name=""/>
        <dsp:cNvSpPr/>
      </dsp:nvSpPr>
      <dsp:spPr>
        <a:xfrm>
          <a:off x="2217593" y="2611119"/>
          <a:ext cx="2939509" cy="7721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Nominal Accounts</a:t>
          </a:r>
          <a:endParaRPr lang="en-US" sz="2600" kern="1200" dirty="0"/>
        </a:p>
      </dsp:txBody>
      <dsp:txXfrm>
        <a:off x="2217593" y="2611119"/>
        <a:ext cx="2939509" cy="7721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FDCEAB-84B2-43E8-9F7E-B25FA99BEFD6}">
      <dsp:nvSpPr>
        <dsp:cNvPr id="0" name=""/>
        <dsp:cNvSpPr/>
      </dsp:nvSpPr>
      <dsp:spPr>
        <a:xfrm>
          <a:off x="0" y="3059187"/>
          <a:ext cx="6096000" cy="100409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Nominal Accounts</a:t>
          </a:r>
          <a:endParaRPr lang="en-US" sz="1900" kern="1200" dirty="0"/>
        </a:p>
      </dsp:txBody>
      <dsp:txXfrm>
        <a:off x="0" y="3059187"/>
        <a:ext cx="6096000" cy="542210"/>
      </dsp:txXfrm>
    </dsp:sp>
    <dsp:sp modelId="{B09EA6D1-D6FF-4166-B7E6-1D5211B95AC3}">
      <dsp:nvSpPr>
        <dsp:cNvPr id="0" name=""/>
        <dsp:cNvSpPr/>
      </dsp:nvSpPr>
      <dsp:spPr>
        <a:xfrm>
          <a:off x="0" y="3581316"/>
          <a:ext cx="3047999" cy="461883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26670" rIns="149352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Debit Expenses &amp; Losses</a:t>
          </a:r>
          <a:endParaRPr lang="en-US" sz="2100" kern="1200" dirty="0"/>
        </a:p>
      </dsp:txBody>
      <dsp:txXfrm>
        <a:off x="0" y="3581316"/>
        <a:ext cx="3047999" cy="461883"/>
      </dsp:txXfrm>
    </dsp:sp>
    <dsp:sp modelId="{29AA02F1-13A0-474F-9FC7-FB0B1ACB9888}">
      <dsp:nvSpPr>
        <dsp:cNvPr id="0" name=""/>
        <dsp:cNvSpPr/>
      </dsp:nvSpPr>
      <dsp:spPr>
        <a:xfrm>
          <a:off x="3048000" y="3581316"/>
          <a:ext cx="3047999" cy="461883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26670" rIns="149352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Credit Incomes &amp; Gains</a:t>
          </a:r>
          <a:endParaRPr lang="en-US" sz="2100" kern="1200" dirty="0"/>
        </a:p>
      </dsp:txBody>
      <dsp:txXfrm>
        <a:off x="3048000" y="3581316"/>
        <a:ext cx="3047999" cy="461883"/>
      </dsp:txXfrm>
    </dsp:sp>
    <dsp:sp modelId="{9CD667F4-DFEC-41F9-AFD5-00CFAFFB94DE}">
      <dsp:nvSpPr>
        <dsp:cNvPr id="0" name=""/>
        <dsp:cNvSpPr/>
      </dsp:nvSpPr>
      <dsp:spPr>
        <a:xfrm rot="10800000">
          <a:off x="0" y="1529953"/>
          <a:ext cx="6096000" cy="1544296"/>
        </a:xfrm>
        <a:prstGeom prst="upArrowCallou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Real Accounts</a:t>
          </a:r>
          <a:endParaRPr lang="en-US" sz="1900" kern="1200" dirty="0"/>
        </a:p>
      </dsp:txBody>
      <dsp:txXfrm rot="-10800000">
        <a:off x="0" y="1529953"/>
        <a:ext cx="6096000" cy="542047"/>
      </dsp:txXfrm>
    </dsp:sp>
    <dsp:sp modelId="{CD4F4086-DD7A-40C7-B718-280986123BAC}">
      <dsp:nvSpPr>
        <dsp:cNvPr id="0" name=""/>
        <dsp:cNvSpPr/>
      </dsp:nvSpPr>
      <dsp:spPr>
        <a:xfrm>
          <a:off x="0" y="2072001"/>
          <a:ext cx="3047999" cy="461744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26670" rIns="149352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Debit what Comes in</a:t>
          </a:r>
          <a:endParaRPr lang="en-US" sz="2100" kern="1200" dirty="0"/>
        </a:p>
      </dsp:txBody>
      <dsp:txXfrm>
        <a:off x="0" y="2072001"/>
        <a:ext cx="3047999" cy="461744"/>
      </dsp:txXfrm>
    </dsp:sp>
    <dsp:sp modelId="{6CE5069D-A416-47A1-A2FF-E8A1D537A325}">
      <dsp:nvSpPr>
        <dsp:cNvPr id="0" name=""/>
        <dsp:cNvSpPr/>
      </dsp:nvSpPr>
      <dsp:spPr>
        <a:xfrm>
          <a:off x="3048000" y="2072001"/>
          <a:ext cx="3047999" cy="461744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26670" rIns="149352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Credit what Goes out</a:t>
          </a:r>
          <a:endParaRPr lang="en-US" sz="2100" kern="1200" dirty="0"/>
        </a:p>
      </dsp:txBody>
      <dsp:txXfrm>
        <a:off x="3048000" y="2072001"/>
        <a:ext cx="3047999" cy="461744"/>
      </dsp:txXfrm>
    </dsp:sp>
    <dsp:sp modelId="{18DFF90D-FB10-4996-B940-295B8E9416AC}">
      <dsp:nvSpPr>
        <dsp:cNvPr id="0" name=""/>
        <dsp:cNvSpPr/>
      </dsp:nvSpPr>
      <dsp:spPr>
        <a:xfrm rot="10800000">
          <a:off x="0" y="718"/>
          <a:ext cx="6096000" cy="1544296"/>
        </a:xfrm>
        <a:prstGeom prst="upArrowCallou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Personal Accounts</a:t>
          </a:r>
          <a:endParaRPr lang="en-US" sz="1900" kern="1200" dirty="0"/>
        </a:p>
      </dsp:txBody>
      <dsp:txXfrm rot="-10800000">
        <a:off x="0" y="718"/>
        <a:ext cx="6096000" cy="542047"/>
      </dsp:txXfrm>
    </dsp:sp>
    <dsp:sp modelId="{03327B26-E75D-4DBD-9478-5B2172C871FB}">
      <dsp:nvSpPr>
        <dsp:cNvPr id="0" name=""/>
        <dsp:cNvSpPr/>
      </dsp:nvSpPr>
      <dsp:spPr>
        <a:xfrm>
          <a:off x="0" y="542766"/>
          <a:ext cx="3047999" cy="461744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26670" rIns="149352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Debit the Receiver</a:t>
          </a:r>
          <a:endParaRPr lang="en-US" sz="2100" kern="1200" dirty="0"/>
        </a:p>
      </dsp:txBody>
      <dsp:txXfrm>
        <a:off x="0" y="542766"/>
        <a:ext cx="3047999" cy="461744"/>
      </dsp:txXfrm>
    </dsp:sp>
    <dsp:sp modelId="{0C2DDBAA-A669-4C52-B2D5-3A304D8AB48D}">
      <dsp:nvSpPr>
        <dsp:cNvPr id="0" name=""/>
        <dsp:cNvSpPr/>
      </dsp:nvSpPr>
      <dsp:spPr>
        <a:xfrm>
          <a:off x="3048000" y="542766"/>
          <a:ext cx="3047999" cy="461744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26670" rIns="149352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Credit the Giver</a:t>
          </a:r>
          <a:endParaRPr lang="en-US" sz="2100" kern="1200" dirty="0"/>
        </a:p>
      </dsp:txBody>
      <dsp:txXfrm>
        <a:off x="3048000" y="542766"/>
        <a:ext cx="3047999" cy="4617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29-Jun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8938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29-Jun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2151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29-Jun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7421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9-Jun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6966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9-Jun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6923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9-Jun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0535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9-Jun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89983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9-Jun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02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9-Jun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6683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9-Jun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5495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9-Jun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656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29-Jun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4547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9-Jun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59470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9-Jun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012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9-Jun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0641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2636912"/>
            <a:ext cx="8229600" cy="452596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84351-3E70-42A6-AA20-90E54E643CB1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29/06/2019</a:t>
            </a:fld>
            <a:endParaRPr lang="en-A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7BD50-AFEA-400D-A1C9-0790E5825567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54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 flipH="1">
            <a:off x="2667000" y="0"/>
            <a:ext cx="6477000" cy="6858000"/>
          </a:xfrm>
          <a:prstGeom prst="rect">
            <a:avLst/>
          </a:prstGeom>
          <a:blipFill>
            <a:blip r:embed="rId2">
              <a:alphaModFix amt="43000"/>
            </a:blip>
            <a:tile tx="0" ty="0" sx="50000" sy="50000" flip="none" algn="tl"/>
          </a:blipFill>
          <a:ln w="0" cap="flat" cmpd="sng" algn="ctr">
            <a:noFill/>
            <a:prstDash val="solid"/>
          </a:ln>
          <a:effectLst>
            <a:fillOverlay blend="mult">
              <a:gradFill rotWithShape="1">
                <a:gsLst>
                  <a:gs pos="0">
                    <a:schemeClr val="tx2">
                      <a:tint val="62000"/>
                      <a:satMod val="420000"/>
                    </a:schemeClr>
                  </a:gs>
                  <a:gs pos="100000">
                    <a:schemeClr val="tx2">
                      <a:shade val="20000"/>
                      <a:satMod val="170000"/>
                    </a:schemeClr>
                  </a:gs>
                </a:gsLst>
                <a:path path="circle">
                  <a:fillToRect l="50000" t="100000" r="50000"/>
                </a:path>
                <a:tileRect/>
              </a:gradFill>
            </a:fillOverlay>
            <a:innerShdw blurRad="63500" dist="44450" dir="10800000">
              <a:srgbClr val="000000">
                <a:alpha val="50000"/>
              </a:srgbClr>
            </a:inn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Straight Connector 8"/>
          <p:cNvSpPr>
            <a:spLocks noChangeShapeType="1"/>
          </p:cNvSpPr>
          <p:nvPr/>
        </p:nvSpPr>
        <p:spPr bwMode="auto">
          <a:xfrm rot="16200000">
            <a:off x="-762000" y="3429000"/>
            <a:ext cx="6858000" cy="0"/>
          </a:xfrm>
          <a:prstGeom prst="line">
            <a:avLst/>
          </a:prstGeom>
          <a:noFill/>
          <a:ln w="11430" cap="flat" cmpd="sng" algn="ctr">
            <a:solidFill>
              <a:schemeClr val="bg1">
                <a:shade val="9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2" name="Title 11"/>
          <p:cNvSpPr>
            <a:spLocks noGrp="1"/>
          </p:cNvSpPr>
          <p:nvPr>
            <p:ph type="ctrTitle"/>
          </p:nvPr>
        </p:nvSpPr>
        <p:spPr>
          <a:xfrm>
            <a:off x="3366868" y="533400"/>
            <a:ext cx="5105400" cy="2868168"/>
          </a:xfrm>
        </p:spPr>
        <p:txBody>
          <a:bodyPr lIns="45720" tIns="0" rIns="45720">
            <a:noAutofit/>
          </a:bodyPr>
          <a:lstStyle>
            <a:lvl1pPr algn="r">
              <a:defRPr sz="4200" b="1"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25" name="Subtitle 24"/>
          <p:cNvSpPr>
            <a:spLocks noGrp="1"/>
          </p:cNvSpPr>
          <p:nvPr>
            <p:ph type="subTitle" idx="1"/>
          </p:nvPr>
        </p:nvSpPr>
        <p:spPr>
          <a:xfrm>
            <a:off x="3354442" y="3539864"/>
            <a:ext cx="5114778" cy="1101248"/>
          </a:xfrm>
        </p:spPr>
        <p:txBody>
          <a:bodyPr lIns="45720" tIns="0" rIns="45720" bIns="0"/>
          <a:lstStyle>
            <a:lvl1pPr marL="0" indent="0" algn="r">
              <a:buNone/>
              <a:defRPr sz="2200">
                <a:solidFill>
                  <a:srgbClr val="FFFFFF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31" name="Date Placeholder 30"/>
          <p:cNvSpPr>
            <a:spLocks noGrp="1"/>
          </p:cNvSpPr>
          <p:nvPr>
            <p:ph type="dt" sz="half" idx="10"/>
          </p:nvPr>
        </p:nvSpPr>
        <p:spPr>
          <a:xfrm>
            <a:off x="5871224" y="6557946"/>
            <a:ext cx="2002464" cy="226902"/>
          </a:xfrm>
        </p:spPr>
        <p:txBody>
          <a:bodyPr/>
          <a:lstStyle>
            <a:lvl1pPr>
              <a:defRPr lang="en-US" smtClean="0">
                <a:solidFill>
                  <a:srgbClr val="FFFFFF"/>
                </a:solidFill>
              </a:defRPr>
            </a:lvl1pPr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29-Jun-19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11"/>
          </p:nvPr>
        </p:nvSpPr>
        <p:spPr>
          <a:xfrm>
            <a:off x="2819400" y="6557946"/>
            <a:ext cx="2927722" cy="228600"/>
          </a:xfrm>
        </p:spPr>
        <p:txBody>
          <a:bodyPr/>
          <a:lstStyle>
            <a:lvl1pPr>
              <a:defRPr lang="en-US" dirty="0">
                <a:solidFill>
                  <a:srgbClr val="FFFFFF"/>
                </a:solidFill>
              </a:defRPr>
            </a:lvl1pPr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7880884" y="6556248"/>
            <a:ext cx="588336" cy="228600"/>
          </a:xfrm>
        </p:spPr>
        <p:txBody>
          <a:bodyPr/>
          <a:lstStyle>
            <a:lvl1pPr>
              <a:defRPr lang="en-US" smtClean="0">
                <a:solidFill>
                  <a:srgbClr val="FFFFFF"/>
                </a:solidFill>
              </a:defRPr>
            </a:lvl1pPr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29-Jun-19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</p:spTree>
  </p:cSld>
  <p:clrMapOvr>
    <a:masterClrMapping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2821837"/>
            <a:ext cx="6255488" cy="1362075"/>
          </a:xfrm>
        </p:spPr>
        <p:txBody>
          <a:bodyPr tIns="0" anchor="t"/>
          <a:lstStyle>
            <a:lvl1pPr algn="r">
              <a:buNone/>
              <a:defRPr sz="4200" b="1" cap="all"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6800" y="1905000"/>
            <a:ext cx="6255488" cy="743507"/>
          </a:xfrm>
        </p:spPr>
        <p:txBody>
          <a:bodyPr anchor="b"/>
          <a:lstStyle>
            <a:lvl1pPr marL="0" indent="0" algn="r">
              <a:buNone/>
              <a:defRPr sz="2000">
                <a:solidFill>
                  <a:schemeClr val="tx1"/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24238" y="6556810"/>
            <a:ext cx="2002464" cy="226902"/>
          </a:xfrm>
        </p:spPr>
        <p:txBody>
          <a:bodyPr bIns="0" anchor="b"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29-Jun-19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735358" y="6556810"/>
            <a:ext cx="2895600" cy="228600"/>
          </a:xfrm>
        </p:spPr>
        <p:txBody>
          <a:bodyPr bIns="0" anchor="b"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3952" y="6555112"/>
            <a:ext cx="588336" cy="228600"/>
          </a:xfrm>
        </p:spPr>
        <p:txBody>
          <a:bodyPr/>
          <a:lstStyle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0040"/>
            <a:ext cx="7242048" cy="1143000"/>
          </a:xfrm>
        </p:spPr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3520440" cy="4525963"/>
          </a:xfrm>
        </p:spPr>
        <p:txBody>
          <a:bodyPr anchor="t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78808" y="1600200"/>
            <a:ext cx="3520440" cy="4525963"/>
          </a:xfrm>
        </p:spPr>
        <p:txBody>
          <a:bodyPr anchor="t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29-Jun-19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</p:spTree>
  </p:cSld>
  <p:clrMapOvr>
    <a:masterClrMapping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0040"/>
            <a:ext cx="7242048" cy="1143000"/>
          </a:xfrm>
        </p:spPr>
        <p:txBody>
          <a:bodyPr anchor="b"/>
          <a:lstStyle>
            <a:lvl1pPr>
              <a:defRPr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867400"/>
            <a:ext cx="3520440" cy="457200"/>
          </a:xfrm>
          <a:noFill/>
          <a:ln w="12700" cap="flat" cmpd="sng" algn="ctr">
            <a:solidFill>
              <a:schemeClr val="tx2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178808" y="5867400"/>
            <a:ext cx="3520440" cy="457200"/>
          </a:xfrm>
          <a:noFill/>
          <a:ln w="12700" cap="flat" cmpd="sng" algn="ctr">
            <a:solidFill>
              <a:schemeClr val="tx2"/>
            </a:solidFill>
            <a:prstDash val="soli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711840"/>
            <a:ext cx="3520440" cy="4114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178808" y="1711840"/>
            <a:ext cx="3520440" cy="4114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29-Jun-19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</p:spTree>
  </p:cSld>
  <p:clrMapOvr>
    <a:masterClrMapping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0040"/>
            <a:ext cx="7242048" cy="1143000"/>
          </a:xfrm>
        </p:spPr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29-Jun-19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</p:spTree>
  </p:cSld>
  <p:clrMapOvr>
    <a:masterClrMapping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29-Jun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4385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29-Jun-19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</p:spTree>
  </p:cSld>
  <p:clrMapOvr>
    <a:masterClrMapping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5897880" cy="1173480"/>
          </a:xfrm>
        </p:spPr>
        <p:txBody>
          <a:bodyPr wrap="square" anchor="b"/>
          <a:lstStyle>
            <a:lvl1pPr algn="l">
              <a:buNone/>
              <a:defRPr lang="en-US" sz="2400" baseline="0" smtClean="0"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57200" y="1497416"/>
            <a:ext cx="5897880" cy="602512"/>
          </a:xfrm>
        </p:spPr>
        <p:txBody>
          <a:bodyPr rot="0" spcFirstLastPara="0" vertOverflow="overflow" horzOverflow="overflow" vert="horz" wrap="square" lIns="45720" tIns="0" rIns="0" bIns="0" numCol="1" spcCol="0" rtlCol="0" fromWordArt="0" anchor="t" anchorCtr="0" forceAA="0" compatLnSpc="1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57200" y="2133600"/>
            <a:ext cx="7239000" cy="437175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29-Jun-19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</p:spTree>
  </p:cSld>
  <p:clrMapOvr>
    <a:masterClrMapping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 rot="21240000">
            <a:off x="597968" y="1004668"/>
            <a:ext cx="4319527" cy="4312573"/>
          </a:xfrm>
          <a:prstGeom prst="rect">
            <a:avLst/>
          </a:prstGeom>
          <a:solidFill>
            <a:srgbClr val="FAFAFA"/>
          </a:solidFill>
          <a:ln w="1270" cap="rnd" cmpd="sng" algn="ctr">
            <a:solidFill>
              <a:srgbClr val="EAEAEA"/>
            </a:solidFill>
            <a:prstDash val="solid"/>
          </a:ln>
          <a:effectLst>
            <a:outerShdw blurRad="25000" dist="12700" dir="5400000" algn="t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 rot="21420000">
            <a:off x="596706" y="998816"/>
            <a:ext cx="4319527" cy="4312573"/>
          </a:xfrm>
          <a:prstGeom prst="rect">
            <a:avLst/>
          </a:prstGeom>
          <a:solidFill>
            <a:srgbClr val="FAFAFA"/>
          </a:solidFill>
          <a:ln w="1270" cap="rnd" cmpd="sng" algn="ctr">
            <a:solidFill>
              <a:srgbClr val="EAEAEA"/>
            </a:solidFill>
            <a:prstDash val="solid"/>
          </a:ln>
          <a:effectLst>
            <a:outerShdw blurRad="28000" dist="12700" dir="54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89098" y="1143000"/>
            <a:ext cx="3429000" cy="2057400"/>
          </a:xfrm>
        </p:spPr>
        <p:txBody>
          <a:bodyPr vert="horz" anchor="b"/>
          <a:lstStyle>
            <a:lvl1pPr algn="l">
              <a:buNone/>
              <a:defRPr sz="3000" b="1" baseline="0">
                <a:ln w="500">
                  <a:solidFill>
                    <a:schemeClr val="tx2">
                      <a:shade val="10000"/>
                      <a:satMod val="135000"/>
                    </a:schemeClr>
                  </a:solidFill>
                </a:ln>
                <a:gradFill>
                  <a:gsLst>
                    <a:gs pos="0">
                      <a:schemeClr val="accent4">
                        <a:tint val="13000"/>
                      </a:schemeClr>
                    </a:gs>
                    <a:gs pos="10000">
                      <a:schemeClr val="accent4">
                        <a:tint val="20000"/>
                      </a:schemeClr>
                    </a:gs>
                    <a:gs pos="49000">
                      <a:schemeClr val="accent4">
                        <a:tint val="70000"/>
                      </a:schemeClr>
                    </a:gs>
                    <a:gs pos="50000">
                      <a:schemeClr val="accent4">
                        <a:tint val="97000"/>
                      </a:schemeClr>
                    </a:gs>
                    <a:gs pos="100000">
                      <a:schemeClr val="accent4">
                        <a:tint val="20000"/>
                      </a:schemeClr>
                    </a:gs>
                  </a:gsLst>
                  <a:lin ang="5400000" scaled="1"/>
                </a:gradFill>
                <a:effectLst/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89098" y="3283634"/>
            <a:ext cx="3429000" cy="1920240"/>
          </a:xfrm>
        </p:spPr>
        <p:txBody>
          <a:bodyPr rot="0" spcFirstLastPara="0" vertOverflow="overflow" horzOverflow="overflow" vert="horz" wrap="square" lIns="82296" tIns="0" rIns="0" bIns="0" numCol="1" spcCol="0" rtlCol="0" fromWordArt="0" anchor="t" anchorCtr="0" forceAA="0" compatLnSpc="1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marL="0" marR="0" lvl="0" indent="0" algn="l" defTabSz="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3000"/>
              <a:buFontTx/>
              <a:buNone/>
              <a:tabLst/>
              <a:defRPr/>
            </a:pPr>
            <a:r>
              <a:rPr kumimoji="0"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29-Jun-19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idx="1"/>
          </p:nvPr>
        </p:nvSpPr>
        <p:spPr>
          <a:xfrm>
            <a:off x="663682" y="1041002"/>
            <a:ext cx="4206240" cy="4206240"/>
          </a:xfrm>
          <a:solidFill>
            <a:schemeClr val="bg2">
              <a:shade val="50000"/>
            </a:schemeClr>
          </a:solidFill>
          <a:ln w="107950">
            <a:solidFill>
              <a:srgbClr val="FFFFFF"/>
            </a:solidFill>
            <a:miter lim="800000"/>
          </a:ln>
          <a:effectLst>
            <a:outerShdw blurRad="44450" dist="3810" dir="5400000" algn="tl" rotWithShape="0">
              <a:srgbClr val="000000">
                <a:alpha val="60000"/>
              </a:srgbClr>
            </a:outerShdw>
          </a:effectLst>
          <a:scene3d>
            <a:camera prst="orthographicFront"/>
            <a:lightRig rig="threePt" dir="t"/>
          </a:scene3d>
          <a:sp3d contourW="3810">
            <a:contourClr>
              <a:srgbClr val="969696"/>
            </a:contourClr>
          </a:sp3d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en-US" smtClean="0"/>
              <a:t>Click icon to add picture</a:t>
            </a:r>
            <a:endParaRPr kumimoji="0"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29-Jun-19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</p:spTree>
  </p:cSld>
  <p:clrMapOvr>
    <a:masterClrMapping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3200" y="274955"/>
            <a:ext cx="1524000" cy="5851525"/>
          </a:xfrm>
        </p:spPr>
        <p:txBody>
          <a:bodyPr vert="eaVert" anchor="t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2"/>
            <a:ext cx="60198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242816" y="6557946"/>
            <a:ext cx="2002464" cy="226902"/>
          </a:xfrm>
        </p:spPr>
        <p:txBody>
          <a:bodyPr/>
          <a:lstStyle>
            <a:extLst/>
          </a:lstStyle>
          <a:p>
            <a:fld id="{1D8BD707-D9CF-40AE-B4C6-C98DA3205C09}" type="datetimeFigureOut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29-Jun-19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" y="6556248"/>
            <a:ext cx="3657600" cy="228600"/>
          </a:xfrm>
        </p:spPr>
        <p:txBody>
          <a:bodyPr/>
          <a:lstStyle>
            <a:extLst/>
          </a:lstStyle>
          <a:p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254496" y="6553200"/>
            <a:ext cx="588336" cy="2286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B6F15528-21DE-4FAA-801E-634DDDAF4B2B}" type="slidenum">
              <a:rPr lang="en-US" smtClean="0">
                <a:solidFill>
                  <a:srgbClr val="F0A22E">
                    <a:shade val="75000"/>
                  </a:srgbClr>
                </a:solidFill>
              </a:rPr>
              <a:pPr/>
              <a:t>‹#›</a:t>
            </a:fld>
            <a:endParaRPr lang="en-US">
              <a:solidFill>
                <a:srgbClr val="F0A22E">
                  <a:shade val="75000"/>
                </a:srgbClr>
              </a:solidFill>
            </a:endParaRPr>
          </a:p>
        </p:txBody>
      </p:sp>
    </p:spTree>
  </p:cSld>
  <p:clrMapOvr>
    <a:masterClrMapping/>
  </p:clrMapOvr>
  <p:transition spd="slow">
    <p:diamond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29-Jun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9967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29-Jun-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2251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29-Jun-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6927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29-Jun-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5712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29-Jun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826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9E2F8-3C53-43AC-AD33-2EC644AEB2BE}" type="datetimeFigureOut">
              <a:rPr lang="en-US" smtClean="0"/>
              <a:t>29-Jun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261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39E2F8-3C53-43AC-AD33-2EC644AEB2BE}" type="datetimeFigureOut">
              <a:rPr lang="en-US" smtClean="0"/>
              <a:t>29-Jun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627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665668-32AA-45F3-8E85-8E4AA592C84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9-Jun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D07984-CD28-4D3E-9B88-BCF42D71AB4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803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 flipH="1">
            <a:off x="8153400" y="0"/>
            <a:ext cx="990600" cy="6858000"/>
          </a:xfrm>
          <a:prstGeom prst="rect">
            <a:avLst/>
          </a:prstGeom>
          <a:blipFill>
            <a:blip r:embed="rId13">
              <a:alphaModFix amt="43000"/>
            </a:blip>
            <a:tile tx="0" ty="0" sx="50000" sy="50000" flip="none" algn="tl"/>
          </a:blipFill>
          <a:ln w="0" cap="flat" cmpd="sng" algn="ctr">
            <a:noFill/>
            <a:prstDash val="solid"/>
          </a:ln>
          <a:effectLst>
            <a:fillOverlay blend="mult">
              <a:gradFill rotWithShape="1">
                <a:gsLst>
                  <a:gs pos="0">
                    <a:schemeClr val="tx2">
                      <a:tint val="62000"/>
                      <a:satMod val="420000"/>
                    </a:schemeClr>
                  </a:gs>
                  <a:gs pos="100000">
                    <a:schemeClr val="tx2">
                      <a:shade val="20000"/>
                      <a:satMod val="170000"/>
                    </a:schemeClr>
                  </a:gs>
                </a:gsLst>
                <a:path path="circle">
                  <a:fillToRect l="50000" t="110000" r="50000" b="-10000"/>
                </a:path>
                <a:tileRect/>
              </a:gradFill>
            </a:fillOverlay>
            <a:innerShdw blurRad="63500" dist="44450" dir="10800000">
              <a:srgbClr val="000000">
                <a:alpha val="45000"/>
              </a:srgbClr>
            </a:inn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457200" y="320040"/>
            <a:ext cx="7239000" cy="1143000"/>
          </a:xfrm>
          <a:prstGeom prst="rect">
            <a:avLst/>
          </a:prstGeom>
        </p:spPr>
        <p:txBody>
          <a:bodyPr vert="horz" lIns="45720" tIns="0" rIns="45720" bIns="0" anchor="b" anchorCtr="0">
            <a:normAutofit/>
          </a:bodyPr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1" name="Text Placeholder 30"/>
          <p:cNvSpPr>
            <a:spLocks noGrp="1"/>
          </p:cNvSpPr>
          <p:nvPr>
            <p:ph type="body" idx="1"/>
          </p:nvPr>
        </p:nvSpPr>
        <p:spPr>
          <a:xfrm>
            <a:off x="457200" y="1609416"/>
            <a:ext cx="7239000" cy="4846320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27" name="Date Placeholder 26"/>
          <p:cNvSpPr>
            <a:spLocks noGrp="1"/>
          </p:cNvSpPr>
          <p:nvPr>
            <p:ph type="dt" sz="half" idx="2"/>
          </p:nvPr>
        </p:nvSpPr>
        <p:spPr>
          <a:xfrm>
            <a:off x="4245936" y="6557946"/>
            <a:ext cx="2002464" cy="226902"/>
          </a:xfrm>
          <a:prstGeom prst="rect">
            <a:avLst/>
          </a:prstGeom>
        </p:spPr>
        <p:txBody>
          <a:bodyPr vert="horz" tIns="0" bIns="0" anchor="b"/>
          <a:lstStyle>
            <a:lvl1pPr algn="l" eaLnBrk="1" latinLnBrk="0" hangingPunct="1">
              <a:defRPr kumimoji="0" sz="1000">
                <a:solidFill>
                  <a:schemeClr val="tx2"/>
                </a:solidFill>
              </a:defRPr>
            </a:lvl1pPr>
            <a:extLst/>
          </a:lstStyle>
          <a:p>
            <a:fld id="{2339E2F8-3C53-43AC-AD33-2EC644AEB2BE}" type="datetimeFigureOut">
              <a:rPr lang="en-US" smtClean="0"/>
              <a:t>29-Jun-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57200" y="6557946"/>
            <a:ext cx="3657600" cy="228600"/>
          </a:xfrm>
          <a:prstGeom prst="rect">
            <a:avLst/>
          </a:prstGeom>
        </p:spPr>
        <p:txBody>
          <a:bodyPr vert="horz" tIns="0" bIns="0" anchor="b"/>
          <a:lstStyle>
            <a:lvl1pPr algn="r" eaLnBrk="1" latinLnBrk="0" hangingPunct="1">
              <a:defRPr kumimoji="0" sz="1000">
                <a:solidFill>
                  <a:schemeClr val="tx2"/>
                </a:solidFill>
              </a:defRPr>
            </a:lvl1pPr>
            <a:extLst/>
          </a:lstStyle>
          <a:p>
            <a:endParaRPr lang="en-US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>
          <a:xfrm>
            <a:off x="6251448" y="6556248"/>
            <a:ext cx="588336" cy="228600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100">
                <a:solidFill>
                  <a:schemeClr val="tx2"/>
                </a:solidFill>
              </a:defRPr>
            </a:lvl1pPr>
            <a:extLst/>
          </a:lstStyle>
          <a:p>
            <a:fld id="{0CD59129-E287-4EBC-8723-7CB46D09F700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transition spd="slow">
    <p:diamond/>
  </p:transition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kumimoji="0" sz="3800" b="1" kern="1200" cap="all" baseline="0">
          <a:ln w="500">
            <a:solidFill>
              <a:schemeClr val="tx2">
                <a:shade val="20000"/>
                <a:satMod val="120000"/>
              </a:schemeClr>
            </a:solidFill>
          </a:ln>
          <a:gradFill>
            <a:gsLst>
              <a:gs pos="0">
                <a:schemeClr val="accent4">
                  <a:tint val="13000"/>
                </a:schemeClr>
              </a:gs>
              <a:gs pos="10000">
                <a:schemeClr val="accent4">
                  <a:tint val="20000"/>
                </a:schemeClr>
              </a:gs>
              <a:gs pos="49000">
                <a:schemeClr val="accent4">
                  <a:tint val="70000"/>
                </a:schemeClr>
              </a:gs>
              <a:gs pos="50000">
                <a:schemeClr val="accent4">
                  <a:tint val="97000"/>
                </a:schemeClr>
              </a:gs>
              <a:gs pos="100000">
                <a:schemeClr val="accent4">
                  <a:tint val="20000"/>
                </a:schemeClr>
              </a:gs>
            </a:gsLst>
            <a:lin ang="5400000" scaled="1"/>
          </a:gradFill>
          <a:effectLst/>
          <a:latin typeface="+mj-lt"/>
          <a:ea typeface="+mj-ea"/>
          <a:cs typeface="+mj-cs"/>
        </a:defRPr>
      </a:lvl1pPr>
      <a:extLst/>
    </p:titleStyle>
    <p:bodyStyle>
      <a:lvl1pPr marL="274320" indent="-274320" algn="l" rtl="0" eaLnBrk="1" latinLnBrk="0" hangingPunct="1">
        <a:spcBef>
          <a:spcPts val="600"/>
        </a:spcBef>
        <a:buClr>
          <a:schemeClr val="tx2"/>
        </a:buClr>
        <a:buSzPct val="73000"/>
        <a:buFont typeface="Wingdings 2"/>
        <a:buChar char=""/>
        <a:defRPr kumimoji="0" sz="2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21208" indent="-228600" algn="l" rtl="0" eaLnBrk="1" latinLnBrk="0" hangingPunct="1">
        <a:spcBef>
          <a:spcPts val="500"/>
        </a:spcBef>
        <a:buClr>
          <a:schemeClr val="accent4"/>
        </a:buClr>
        <a:buSzPct val="80000"/>
        <a:buFont typeface="Wingdings 2"/>
        <a:buChar char=""/>
        <a:defRPr kumimoji="0" sz="2300" kern="1200">
          <a:solidFill>
            <a:schemeClr val="tx1">
              <a:tint val="85000"/>
            </a:schemeClr>
          </a:solidFill>
          <a:latin typeface="+mn-lt"/>
          <a:ea typeface="+mn-ea"/>
          <a:cs typeface="+mn-cs"/>
        </a:defRPr>
      </a:lvl2pPr>
      <a:lvl3pPr marL="758952" indent="-228600" algn="l" rtl="0" eaLnBrk="1" latinLnBrk="0" hangingPunct="1">
        <a:spcBef>
          <a:spcPts val="400"/>
        </a:spcBef>
        <a:buClr>
          <a:schemeClr val="accent4"/>
        </a:buClr>
        <a:buSzPct val="60000"/>
        <a:buFont typeface="Wingdings"/>
        <a:buChar char="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228600" algn="l" rtl="0" eaLnBrk="1" latinLnBrk="0" hangingPunct="1">
        <a:spcBef>
          <a:spcPct val="20000"/>
        </a:spcBef>
        <a:buClr>
          <a:schemeClr val="accent4"/>
        </a:buClr>
        <a:buSzPct val="80000"/>
        <a:buFont typeface="Wingdings 2"/>
        <a:buChar char=""/>
        <a:defRPr kumimoji="0" sz="2000" kern="1200">
          <a:solidFill>
            <a:schemeClr val="tx1">
              <a:tint val="85000"/>
            </a:schemeClr>
          </a:solidFill>
          <a:latin typeface="+mn-lt"/>
          <a:ea typeface="+mn-ea"/>
          <a:cs typeface="+mn-cs"/>
        </a:defRPr>
      </a:lvl4pPr>
      <a:lvl5pPr marL="1280160" indent="-228600" algn="l" rtl="0" eaLnBrk="1" latinLnBrk="0" hangingPunct="1">
        <a:spcBef>
          <a:spcPts val="400"/>
        </a:spcBef>
        <a:buClr>
          <a:schemeClr val="accent4"/>
        </a:buClr>
        <a:buSzPct val="70000"/>
        <a:buFont typeface="Wingdings"/>
        <a:buChar char="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472184" indent="-182880" algn="l" rtl="0" eaLnBrk="1" latinLnBrk="0" hangingPunct="1">
        <a:spcBef>
          <a:spcPts val="400"/>
        </a:spcBef>
        <a:buClr>
          <a:schemeClr val="accent4"/>
        </a:buClr>
        <a:buSzPct val="80000"/>
        <a:buFont typeface="Wingdings 2"/>
        <a:buChar char=""/>
        <a:defRPr kumimoji="0" sz="1800" kern="1200">
          <a:solidFill>
            <a:schemeClr val="tx1">
              <a:tint val="85000"/>
            </a:schemeClr>
          </a:solidFill>
          <a:latin typeface="+mn-lt"/>
          <a:ea typeface="+mn-ea"/>
          <a:cs typeface="+mn-cs"/>
        </a:defRPr>
      </a:lvl6pPr>
      <a:lvl7pPr marL="1673352" indent="-182880" algn="l" rtl="0" eaLnBrk="1" latinLnBrk="0" hangingPunct="1">
        <a:spcBef>
          <a:spcPct val="20000"/>
        </a:spcBef>
        <a:buClr>
          <a:schemeClr val="accent4"/>
        </a:buClr>
        <a:buSzPct val="80000"/>
        <a:buFont typeface="Wingdings 2"/>
        <a:buChar char="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847088" indent="-182880" algn="l" rtl="0" eaLnBrk="1" latinLnBrk="0" hangingPunct="1">
        <a:spcBef>
          <a:spcPts val="300"/>
        </a:spcBef>
        <a:buClr>
          <a:schemeClr val="accent4"/>
        </a:buClr>
        <a:buSzPct val="100000"/>
        <a:buChar char="•"/>
        <a:defRPr kumimoji="0" sz="1600" kern="1200" baseline="0">
          <a:solidFill>
            <a:schemeClr val="tx1">
              <a:tint val="85000"/>
            </a:schemeClr>
          </a:solidFill>
          <a:latin typeface="+mn-lt"/>
          <a:ea typeface="+mn-ea"/>
          <a:cs typeface="+mn-cs"/>
        </a:defRPr>
      </a:lvl8pPr>
      <a:lvl9pPr marL="2057400" indent="-182880" algn="l" rtl="0" eaLnBrk="1" latinLnBrk="0" hangingPunct="1">
        <a:spcBef>
          <a:spcPct val="20000"/>
        </a:spcBef>
        <a:buClr>
          <a:schemeClr val="accent4"/>
        </a:buClr>
        <a:buSzPct val="100000"/>
        <a:buFont typeface="Wingdings"/>
        <a:buChar char="§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mp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1.xml"/><Relationship Id="rId7" Type="http://schemas.openxmlformats.org/officeDocument/2006/relationships/diagramLayout" Target="../diagrams/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diagramData" Target="../diagrams/data1.xml"/><Relationship Id="rId5" Type="http://schemas.openxmlformats.org/officeDocument/2006/relationships/image" Target="../media/image4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4.bin"/><Relationship Id="rId9" Type="http://schemas.openxmlformats.org/officeDocument/2006/relationships/diagramColors" Target="../diagrams/colors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slideLayout" Target="../slideLayouts/slideLayout1.xml"/><Relationship Id="rId7" Type="http://schemas.openxmlformats.org/officeDocument/2006/relationships/diagramLayout" Target="../diagrams/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diagramData" Target="../diagrams/data2.xml"/><Relationship Id="rId5" Type="http://schemas.openxmlformats.org/officeDocument/2006/relationships/image" Target="../media/image4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6.bin"/><Relationship Id="rId9" Type="http://schemas.openxmlformats.org/officeDocument/2006/relationships/diagramColors" Target="../diagrams/colors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973136" y="2581870"/>
            <a:ext cx="3197735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dirty="0" smtClean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4F81BD">
                        <a:tint val="40000"/>
                        <a:satMod val="250000"/>
                      </a:srgbClr>
                    </a:gs>
                    <a:gs pos="9000">
                      <a:srgbClr val="4F81BD">
                        <a:tint val="52000"/>
                        <a:satMod val="300000"/>
                      </a:srgbClr>
                    </a:gs>
                    <a:gs pos="50000">
                      <a:srgbClr val="4F81BD">
                        <a:shade val="20000"/>
                        <a:satMod val="300000"/>
                      </a:srgbClr>
                    </a:gs>
                    <a:gs pos="79000">
                      <a:srgbClr val="4F81BD">
                        <a:tint val="52000"/>
                        <a:satMod val="300000"/>
                      </a:srgbClr>
                    </a:gs>
                    <a:gs pos="100000">
                      <a:srgbClr val="4F81BD">
                        <a:tint val="40000"/>
                        <a:satMod val="250000"/>
                      </a:srgbClr>
                    </a:gs>
                  </a:gsLst>
                  <a:lin ang="5400000"/>
                </a:gradFill>
              </a:rPr>
              <a:t>Tally ERP.9</a:t>
            </a:r>
            <a:endParaRPr lang="en-US" sz="5400" b="1" dirty="0">
              <a:ln w="10541" cmpd="sng">
                <a:solidFill>
                  <a:srgbClr val="4F81BD">
                    <a:shade val="88000"/>
                    <a:satMod val="110000"/>
                  </a:srgbClr>
                </a:solidFill>
                <a:prstDash val="solid"/>
              </a:ln>
              <a:gradFill>
                <a:gsLst>
                  <a:gs pos="0">
                    <a:srgbClr val="4F81BD">
                      <a:tint val="40000"/>
                      <a:satMod val="250000"/>
                    </a:srgbClr>
                  </a:gs>
                  <a:gs pos="9000">
                    <a:srgbClr val="4F81BD">
                      <a:tint val="52000"/>
                      <a:satMod val="300000"/>
                    </a:srgbClr>
                  </a:gs>
                  <a:gs pos="50000">
                    <a:srgbClr val="4F81BD">
                      <a:shade val="20000"/>
                      <a:satMod val="300000"/>
                    </a:srgbClr>
                  </a:gs>
                  <a:gs pos="79000">
                    <a:srgbClr val="4F81BD">
                      <a:tint val="52000"/>
                      <a:satMod val="300000"/>
                    </a:srgbClr>
                  </a:gs>
                  <a:gs pos="100000">
                    <a:srgbClr val="4F81BD">
                      <a:tint val="40000"/>
                      <a:satMod val="250000"/>
                    </a:srgbClr>
                  </a:gs>
                </a:gsLst>
                <a:lin ang="5400000"/>
              </a:gradFill>
            </a:endParaRPr>
          </a:p>
        </p:txBody>
      </p:sp>
      <p:pic>
        <p:nvPicPr>
          <p:cNvPr id="3" name="Picture 2" descr="Screen Clippi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19264" y="3657472"/>
            <a:ext cx="2705478" cy="914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338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9123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0572" y="1109246"/>
            <a:ext cx="44958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Basic terms of Accounting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0" y="1860828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1. Business:</a:t>
            </a:r>
            <a:endParaRPr lang="en-US" sz="22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0" y="2221468"/>
            <a:ext cx="9170875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It is an activity to earn the Profit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0" y="4572000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3</a:t>
            </a: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. Capital:</a:t>
            </a:r>
            <a:endParaRPr lang="en-US" sz="22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0" y="4872573"/>
            <a:ext cx="9188903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It refers to the money or money’s worth invested by the owner in the business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0" y="2971800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2</a:t>
            </a: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. Owner / Proprietor: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0" y="3316069"/>
            <a:ext cx="9188903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The person who makes the investment &amp; bears all the risk connected with the business is known as Owner / proprietor.</a:t>
            </a:r>
          </a:p>
        </p:txBody>
      </p:sp>
    </p:spTree>
    <p:extLst>
      <p:ext uri="{BB962C8B-B14F-4D97-AF65-F5344CB8AC3E}">
        <p14:creationId xmlns:p14="http://schemas.microsoft.com/office/powerpoint/2010/main" val="1482507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19227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0" y="1218724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4. Transaction:</a:t>
            </a:r>
            <a:endParaRPr lang="en-US" sz="22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0" y="1579364"/>
            <a:ext cx="9170875" cy="29238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Is an activity which involves exchange of money or money’s worth between two parties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</a:t>
            </a: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ypes of Transactions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</a:t>
            </a:r>
          </a:p>
          <a:p>
            <a:pPr marL="342900" indent="-342900">
              <a:spcAft>
                <a:spcPts val="1200"/>
              </a:spcAft>
              <a:buAutoNum type="alphaLcParenR"/>
            </a:pP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ash Transactions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These are the transactions which involve the immediate payment of cash.</a:t>
            </a:r>
          </a:p>
          <a:p>
            <a:pPr marL="342900" indent="-342900">
              <a:spcAft>
                <a:spcPts val="1200"/>
              </a:spcAft>
              <a:buAutoNum type="alphaLcParenR"/>
            </a:pP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redit Transactions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These are the transactions in which payment of money or cash is postponed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0" y="4445913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5. Assets: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0" y="4790182"/>
            <a:ext cx="9188903" cy="107721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Assets are the properties or resources which are owned by the business entity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x: Building, Land, Machinery, Furniture etc.</a:t>
            </a:r>
          </a:p>
        </p:txBody>
      </p:sp>
    </p:spTree>
    <p:extLst>
      <p:ext uri="{BB962C8B-B14F-4D97-AF65-F5344CB8AC3E}">
        <p14:creationId xmlns:p14="http://schemas.microsoft.com/office/powerpoint/2010/main" val="608307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8352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0" y="4724400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8. Goods: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0" y="5068669"/>
            <a:ext cx="9188903" cy="107721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The term goods include all commodities, articles or products in which the business deals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x: For Book seller- Books are the Goods etc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.</a:t>
            </a:r>
            <a:endParaRPr lang="en-US" b="1" dirty="0" smtClean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295400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6. Liabilities: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1639669"/>
            <a:ext cx="9188903" cy="80021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Liabilities are the debts owed by the business entity to outsiders 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x: Amount due to suppliers(Creditors), Bills Payable, Bank Loan etc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0" y="3090446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7. Drawings: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0" y="3392269"/>
            <a:ext cx="9188903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It is the amount of cash or the value of goods withdrawn(taken) by the owner for his personal use.</a:t>
            </a:r>
          </a:p>
        </p:txBody>
      </p:sp>
    </p:spTree>
    <p:extLst>
      <p:ext uri="{BB962C8B-B14F-4D97-AF65-F5344CB8AC3E}">
        <p14:creationId xmlns:p14="http://schemas.microsoft.com/office/powerpoint/2010/main" val="3825499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0394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654314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9. Sundry Debtors: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1998583"/>
            <a:ext cx="9188903" cy="135421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A person who owes money to the firm/business is called as Sundry Debtor. Debtors comes on account of Credit Sales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x: When goods are sold to a person on credit, that person pays the price in future, he is called a debtor because he owes the amount to the firm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4092714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10. Sundry Creditors: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0" y="4436983"/>
            <a:ext cx="9188903" cy="135421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A person to whom money is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o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wing by the firm is called as Sundry Creditor. Creditors comes on account of Credit Purchases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x: If firm purchases goods from Mr. X on credit, then Mr. X becomes creditor to the firm.</a:t>
            </a:r>
          </a:p>
        </p:txBody>
      </p:sp>
    </p:spTree>
    <p:extLst>
      <p:ext uri="{BB962C8B-B14F-4D97-AF65-F5344CB8AC3E}">
        <p14:creationId xmlns:p14="http://schemas.microsoft.com/office/powerpoint/2010/main" val="1121178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84589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0" y="1143000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11. Purchases:</a:t>
            </a:r>
            <a:endParaRPr lang="en-US" sz="22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0" y="1503640"/>
            <a:ext cx="9170875" cy="264687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The term purchase means goods are bought for resale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</a:t>
            </a: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ypes of Purchases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</a:t>
            </a:r>
          </a:p>
          <a:p>
            <a:pPr marL="342900" indent="-342900">
              <a:spcAft>
                <a:spcPts val="1200"/>
              </a:spcAft>
              <a:buAutoNum type="alphaLcParenR"/>
            </a:pP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ash Purchases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If cash is paid immediately for the purchase of goods is called as Cash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P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urchases.</a:t>
            </a:r>
          </a:p>
          <a:p>
            <a:pPr marL="342900" indent="-342900">
              <a:spcAft>
                <a:spcPts val="1200"/>
              </a:spcAft>
              <a:buAutoNum type="alphaLcParenR"/>
            </a:pP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redit </a:t>
            </a:r>
            <a:r>
              <a:rPr lang="en-US" b="1" u="sng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Purchases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If the payment for the purchase of goods is postponed I called as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redit Purchases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0" y="4099679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12. Sales:</a:t>
            </a:r>
            <a:endParaRPr lang="en-US" sz="22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0" y="4460319"/>
            <a:ext cx="9170875" cy="209288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When the goods purchased are sold out is known as Sales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</a:t>
            </a: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ypes of Sales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</a:t>
            </a:r>
          </a:p>
          <a:p>
            <a:pPr marL="342900" indent="-342900">
              <a:spcAft>
                <a:spcPts val="1200"/>
              </a:spcAft>
              <a:buAutoNum type="alphaLcParenR"/>
            </a:pPr>
            <a:r>
              <a:rPr lang="en-US" b="1" u="sng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ash Sales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If the sale is for immediate cash payment, it is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sh Sales</a:t>
            </a:r>
          </a:p>
          <a:p>
            <a:pPr marL="342900" indent="-342900">
              <a:spcAft>
                <a:spcPts val="1200"/>
              </a:spcAft>
              <a:buAutoNum type="alphaLcParenR"/>
            </a:pP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redit </a:t>
            </a:r>
            <a:r>
              <a:rPr lang="en-US" b="1" u="sng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Sales</a:t>
            </a: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If payment for sales is postponed, it is Credit Sales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409199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49273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0" y="4848999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15. Stock(Inventory):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0" y="5193268"/>
            <a:ext cx="9188903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Unsold goods are called as Stock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0" y="1447800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13. Purchase Returns (Return Outwards):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1792069"/>
            <a:ext cx="9188903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It means the goods which were purchased are now returned to the supplier due to poor quality, bad packaging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0" y="3200400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14. Sales </a:t>
            </a:r>
            <a:r>
              <a:rPr lang="en-US" sz="22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Returns (Return </a:t>
            </a: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Inwards):</a:t>
            </a:r>
            <a:endParaRPr lang="en-US" sz="22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3502223"/>
            <a:ext cx="9188903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It means the goods which were sold to customers are now returned for the same reasons stated above.</a:t>
            </a:r>
          </a:p>
        </p:txBody>
      </p:sp>
    </p:spTree>
    <p:extLst>
      <p:ext uri="{BB962C8B-B14F-4D97-AF65-F5344CB8AC3E}">
        <p14:creationId xmlns:p14="http://schemas.microsoft.com/office/powerpoint/2010/main" val="2564897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911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066800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16. Account: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1411069"/>
            <a:ext cx="9188903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Account is a record of the various dealings which occur between a customer &amp; the firm. The short form of Account is “A/c”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2402682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17. Discount:</a:t>
            </a:r>
            <a:endParaRPr lang="en-US" sz="22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2763322"/>
            <a:ext cx="9170875" cy="29238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Deduction in the prices of goods is called as </a:t>
            </a:r>
            <a:r>
              <a:rPr lang="en-US" b="1" dirty="0" err="1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Discount.It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is usually expressed in terms of Percentage(%)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</a:t>
            </a: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ypes of Discount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</a:t>
            </a:r>
          </a:p>
          <a:p>
            <a:pPr marL="342900" indent="-342900">
              <a:spcAft>
                <a:spcPts val="1200"/>
              </a:spcAft>
              <a:buAutoNum type="alphaLcParenR"/>
            </a:pP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rade </a:t>
            </a:r>
            <a:r>
              <a:rPr lang="en-US" b="1" u="sng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Discount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It is allowed/earned at the time of sales/purchases on the basis of quantity.</a:t>
            </a:r>
          </a:p>
          <a:p>
            <a:pPr marL="342900" indent="-342900">
              <a:spcAft>
                <a:spcPts val="1200"/>
              </a:spcAft>
              <a:buAutoNum type="alphaLcParenR"/>
            </a:pPr>
            <a:r>
              <a:rPr lang="en-US" b="1" u="sng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</a:t>
            </a: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sh </a:t>
            </a:r>
            <a:r>
              <a:rPr lang="en-US" b="1" u="sng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Discount</a:t>
            </a: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Cash Discount is allowed to the Debtors for quick payment of debt. 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0" y="5486400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18. Invoice / Bill: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0" y="5830669"/>
            <a:ext cx="9188903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It is a commercial document issued by a seller to a buyer.</a:t>
            </a:r>
          </a:p>
        </p:txBody>
      </p:sp>
    </p:spTree>
    <p:extLst>
      <p:ext uri="{BB962C8B-B14F-4D97-AF65-F5344CB8AC3E}">
        <p14:creationId xmlns:p14="http://schemas.microsoft.com/office/powerpoint/2010/main" val="4259793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3834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0" y="1261646"/>
            <a:ext cx="907664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Accounting Year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0571" y="1676400"/>
            <a:ext cx="8866075" cy="193899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It is generally a period of 12 months during which the accounts are maintained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An Accounting Year may be a,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)</a:t>
            </a: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alendar Year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1</a:t>
            </a:r>
            <a:r>
              <a:rPr lang="en-US" b="1" baseline="30000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st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January to 31</a:t>
            </a:r>
            <a:r>
              <a:rPr lang="en-US" b="1" baseline="30000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st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December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b)</a:t>
            </a: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Financial Year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1</a:t>
            </a:r>
            <a:r>
              <a:rPr lang="en-US" b="1" baseline="30000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st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April to 31</a:t>
            </a:r>
            <a:r>
              <a:rPr lang="en-US" b="1" baseline="30000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st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March.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0" y="4233446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Methods of Accounting Process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76931" y="4864894"/>
            <a:ext cx="8599715" cy="123110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Manual Proces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err="1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omputerised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Proces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4861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3834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36493"/>
            <a:ext cx="8543925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Accounting Cycle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(Manual Process)</a:t>
            </a:r>
            <a:endParaRPr lang="en-US" sz="20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-457200" y="1222229"/>
            <a:ext cx="8068600" cy="4645171"/>
            <a:chOff x="-302662" y="1450829"/>
            <a:chExt cx="8068600" cy="4645171"/>
          </a:xfrm>
        </p:grpSpPr>
        <p:sp>
          <p:nvSpPr>
            <p:cNvPr id="36" name="Bent-Up Arrow 35"/>
            <p:cNvSpPr/>
            <p:nvPr/>
          </p:nvSpPr>
          <p:spPr>
            <a:xfrm rot="5400000">
              <a:off x="535423" y="2252012"/>
              <a:ext cx="701462" cy="798590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7" name="Freeform 36"/>
            <p:cNvSpPr/>
            <p:nvPr/>
          </p:nvSpPr>
          <p:spPr>
            <a:xfrm>
              <a:off x="-302662" y="1450829"/>
              <a:ext cx="2810210" cy="826556"/>
            </a:xfrm>
            <a:custGeom>
              <a:avLst/>
              <a:gdLst>
                <a:gd name="connsiteX0" fmla="*/ 0 w 2810210"/>
                <a:gd name="connsiteY0" fmla="*/ 137787 h 826556"/>
                <a:gd name="connsiteX1" fmla="*/ 137787 w 2810210"/>
                <a:gd name="connsiteY1" fmla="*/ 0 h 826556"/>
                <a:gd name="connsiteX2" fmla="*/ 2672423 w 2810210"/>
                <a:gd name="connsiteY2" fmla="*/ 0 h 826556"/>
                <a:gd name="connsiteX3" fmla="*/ 2810210 w 2810210"/>
                <a:gd name="connsiteY3" fmla="*/ 137787 h 826556"/>
                <a:gd name="connsiteX4" fmla="*/ 2810210 w 2810210"/>
                <a:gd name="connsiteY4" fmla="*/ 688769 h 826556"/>
                <a:gd name="connsiteX5" fmla="*/ 2672423 w 2810210"/>
                <a:gd name="connsiteY5" fmla="*/ 826556 h 826556"/>
                <a:gd name="connsiteX6" fmla="*/ 137787 w 2810210"/>
                <a:gd name="connsiteY6" fmla="*/ 826556 h 826556"/>
                <a:gd name="connsiteX7" fmla="*/ 0 w 2810210"/>
                <a:gd name="connsiteY7" fmla="*/ 688769 h 826556"/>
                <a:gd name="connsiteX8" fmla="*/ 0 w 2810210"/>
                <a:gd name="connsiteY8" fmla="*/ 137787 h 8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10210" h="826556">
                  <a:moveTo>
                    <a:pt x="0" y="137787"/>
                  </a:moveTo>
                  <a:cubicBezTo>
                    <a:pt x="0" y="61689"/>
                    <a:pt x="61689" y="0"/>
                    <a:pt x="137787" y="0"/>
                  </a:cubicBezTo>
                  <a:lnTo>
                    <a:pt x="2672423" y="0"/>
                  </a:lnTo>
                  <a:cubicBezTo>
                    <a:pt x="2748521" y="0"/>
                    <a:pt x="2810210" y="61689"/>
                    <a:pt x="2810210" y="137787"/>
                  </a:cubicBezTo>
                  <a:lnTo>
                    <a:pt x="2810210" y="688769"/>
                  </a:lnTo>
                  <a:cubicBezTo>
                    <a:pt x="2810210" y="764867"/>
                    <a:pt x="2748521" y="826556"/>
                    <a:pt x="2672423" y="826556"/>
                  </a:cubicBezTo>
                  <a:lnTo>
                    <a:pt x="137787" y="826556"/>
                  </a:lnTo>
                  <a:cubicBezTo>
                    <a:pt x="61689" y="826556"/>
                    <a:pt x="0" y="764867"/>
                    <a:pt x="0" y="688769"/>
                  </a:cubicBezTo>
                  <a:lnTo>
                    <a:pt x="0" y="137787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1796" tIns="131796" rIns="131796" bIns="13179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2400" b="1" kern="1200" dirty="0" smtClean="0">
                  <a:effectLst/>
                  <a:latin typeface="Calibri"/>
                  <a:ea typeface="+mn-ea"/>
                  <a:cs typeface="+mn-cs"/>
                </a:rPr>
                <a:t>Transaction</a:t>
              </a:r>
              <a:endParaRPr lang="en-IN" sz="2400" b="1" kern="1200" dirty="0">
                <a:effectLst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1962956" y="1537075"/>
              <a:ext cx="1107729" cy="66805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0" name="Bent-Up Arrow 39"/>
            <p:cNvSpPr/>
            <p:nvPr/>
          </p:nvSpPr>
          <p:spPr>
            <a:xfrm rot="5400000">
              <a:off x="1839294" y="3219102"/>
              <a:ext cx="701462" cy="798590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1" name="Freeform 40"/>
            <p:cNvSpPr/>
            <p:nvPr/>
          </p:nvSpPr>
          <p:spPr>
            <a:xfrm>
              <a:off x="1316330" y="2402369"/>
              <a:ext cx="2569872" cy="826556"/>
            </a:xfrm>
            <a:custGeom>
              <a:avLst/>
              <a:gdLst>
                <a:gd name="connsiteX0" fmla="*/ 0 w 2569872"/>
                <a:gd name="connsiteY0" fmla="*/ 137787 h 826556"/>
                <a:gd name="connsiteX1" fmla="*/ 137787 w 2569872"/>
                <a:gd name="connsiteY1" fmla="*/ 0 h 826556"/>
                <a:gd name="connsiteX2" fmla="*/ 2432085 w 2569872"/>
                <a:gd name="connsiteY2" fmla="*/ 0 h 826556"/>
                <a:gd name="connsiteX3" fmla="*/ 2569872 w 2569872"/>
                <a:gd name="connsiteY3" fmla="*/ 137787 h 826556"/>
                <a:gd name="connsiteX4" fmla="*/ 2569872 w 2569872"/>
                <a:gd name="connsiteY4" fmla="*/ 688769 h 826556"/>
                <a:gd name="connsiteX5" fmla="*/ 2432085 w 2569872"/>
                <a:gd name="connsiteY5" fmla="*/ 826556 h 826556"/>
                <a:gd name="connsiteX6" fmla="*/ 137787 w 2569872"/>
                <a:gd name="connsiteY6" fmla="*/ 826556 h 826556"/>
                <a:gd name="connsiteX7" fmla="*/ 0 w 2569872"/>
                <a:gd name="connsiteY7" fmla="*/ 688769 h 826556"/>
                <a:gd name="connsiteX8" fmla="*/ 0 w 2569872"/>
                <a:gd name="connsiteY8" fmla="*/ 137787 h 8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69872" h="826556">
                  <a:moveTo>
                    <a:pt x="0" y="137787"/>
                  </a:moveTo>
                  <a:cubicBezTo>
                    <a:pt x="0" y="61689"/>
                    <a:pt x="61689" y="0"/>
                    <a:pt x="137787" y="0"/>
                  </a:cubicBezTo>
                  <a:lnTo>
                    <a:pt x="2432085" y="0"/>
                  </a:lnTo>
                  <a:cubicBezTo>
                    <a:pt x="2508183" y="0"/>
                    <a:pt x="2569872" y="61689"/>
                    <a:pt x="2569872" y="137787"/>
                  </a:cubicBezTo>
                  <a:lnTo>
                    <a:pt x="2569872" y="688769"/>
                  </a:lnTo>
                  <a:cubicBezTo>
                    <a:pt x="2569872" y="764867"/>
                    <a:pt x="2508183" y="826556"/>
                    <a:pt x="2432085" y="826556"/>
                  </a:cubicBezTo>
                  <a:lnTo>
                    <a:pt x="137787" y="826556"/>
                  </a:lnTo>
                  <a:cubicBezTo>
                    <a:pt x="61689" y="826556"/>
                    <a:pt x="0" y="764867"/>
                    <a:pt x="0" y="688769"/>
                  </a:cubicBezTo>
                  <a:lnTo>
                    <a:pt x="0" y="137787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1796" tIns="131796" rIns="131796" bIns="13179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2400" b="1" kern="1200" dirty="0" smtClean="0">
                  <a:effectLst/>
                  <a:latin typeface="Calibri"/>
                  <a:ea typeface="+mn-ea"/>
                  <a:cs typeface="+mn-cs"/>
                </a:rPr>
                <a:t>Journal Entry</a:t>
              </a:r>
              <a:endParaRPr lang="en-IN" sz="2400" b="1" kern="1200" dirty="0">
                <a:effectLst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3199673" y="2453273"/>
              <a:ext cx="1266038" cy="66805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3" name="Bent-Up Arrow 42"/>
            <p:cNvSpPr/>
            <p:nvPr/>
          </p:nvSpPr>
          <p:spPr>
            <a:xfrm rot="5400000">
              <a:off x="3365543" y="4085407"/>
              <a:ext cx="701462" cy="798590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4" name="Freeform 43"/>
            <p:cNvSpPr/>
            <p:nvPr/>
          </p:nvSpPr>
          <p:spPr>
            <a:xfrm>
              <a:off x="2602959" y="3369466"/>
              <a:ext cx="2426245" cy="826556"/>
            </a:xfrm>
            <a:custGeom>
              <a:avLst/>
              <a:gdLst>
                <a:gd name="connsiteX0" fmla="*/ 0 w 2426245"/>
                <a:gd name="connsiteY0" fmla="*/ 137787 h 826556"/>
                <a:gd name="connsiteX1" fmla="*/ 137787 w 2426245"/>
                <a:gd name="connsiteY1" fmla="*/ 0 h 826556"/>
                <a:gd name="connsiteX2" fmla="*/ 2288458 w 2426245"/>
                <a:gd name="connsiteY2" fmla="*/ 0 h 826556"/>
                <a:gd name="connsiteX3" fmla="*/ 2426245 w 2426245"/>
                <a:gd name="connsiteY3" fmla="*/ 137787 h 826556"/>
                <a:gd name="connsiteX4" fmla="*/ 2426245 w 2426245"/>
                <a:gd name="connsiteY4" fmla="*/ 688769 h 826556"/>
                <a:gd name="connsiteX5" fmla="*/ 2288458 w 2426245"/>
                <a:gd name="connsiteY5" fmla="*/ 826556 h 826556"/>
                <a:gd name="connsiteX6" fmla="*/ 137787 w 2426245"/>
                <a:gd name="connsiteY6" fmla="*/ 826556 h 826556"/>
                <a:gd name="connsiteX7" fmla="*/ 0 w 2426245"/>
                <a:gd name="connsiteY7" fmla="*/ 688769 h 826556"/>
                <a:gd name="connsiteX8" fmla="*/ 0 w 2426245"/>
                <a:gd name="connsiteY8" fmla="*/ 137787 h 8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26245" h="826556">
                  <a:moveTo>
                    <a:pt x="0" y="137787"/>
                  </a:moveTo>
                  <a:cubicBezTo>
                    <a:pt x="0" y="61689"/>
                    <a:pt x="61689" y="0"/>
                    <a:pt x="137787" y="0"/>
                  </a:cubicBezTo>
                  <a:lnTo>
                    <a:pt x="2288458" y="0"/>
                  </a:lnTo>
                  <a:cubicBezTo>
                    <a:pt x="2364556" y="0"/>
                    <a:pt x="2426245" y="61689"/>
                    <a:pt x="2426245" y="137787"/>
                  </a:cubicBezTo>
                  <a:lnTo>
                    <a:pt x="2426245" y="688769"/>
                  </a:lnTo>
                  <a:cubicBezTo>
                    <a:pt x="2426245" y="764867"/>
                    <a:pt x="2364556" y="826556"/>
                    <a:pt x="2288458" y="826556"/>
                  </a:cubicBezTo>
                  <a:lnTo>
                    <a:pt x="137787" y="826556"/>
                  </a:lnTo>
                  <a:cubicBezTo>
                    <a:pt x="61689" y="826556"/>
                    <a:pt x="0" y="764867"/>
                    <a:pt x="0" y="688769"/>
                  </a:cubicBezTo>
                  <a:lnTo>
                    <a:pt x="0" y="137787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1796" tIns="131796" rIns="131796" bIns="13179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effectLst/>
                  <a:latin typeface="Calibri"/>
                  <a:ea typeface="+mn-ea"/>
                  <a:cs typeface="+mn-cs"/>
                </a:rPr>
                <a:t>Ledger Posting</a:t>
              </a:r>
              <a:endParaRPr lang="en-IN" sz="2400" b="1" kern="1200" dirty="0">
                <a:effectLst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4360548" y="3386652"/>
              <a:ext cx="858837" cy="66805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6" name="Bent-Up Arrow 45"/>
            <p:cNvSpPr/>
            <p:nvPr/>
          </p:nvSpPr>
          <p:spPr>
            <a:xfrm rot="5400000">
              <a:off x="4609159" y="5013903"/>
              <a:ext cx="701462" cy="798590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7" name="Freeform 46"/>
            <p:cNvSpPr/>
            <p:nvPr/>
          </p:nvSpPr>
          <p:spPr>
            <a:xfrm>
              <a:off x="4118377" y="4278844"/>
              <a:ext cx="2466922" cy="826556"/>
            </a:xfrm>
            <a:custGeom>
              <a:avLst/>
              <a:gdLst>
                <a:gd name="connsiteX0" fmla="*/ 0 w 2053817"/>
                <a:gd name="connsiteY0" fmla="*/ 137787 h 826556"/>
                <a:gd name="connsiteX1" fmla="*/ 137787 w 2053817"/>
                <a:gd name="connsiteY1" fmla="*/ 0 h 826556"/>
                <a:gd name="connsiteX2" fmla="*/ 1916030 w 2053817"/>
                <a:gd name="connsiteY2" fmla="*/ 0 h 826556"/>
                <a:gd name="connsiteX3" fmla="*/ 2053817 w 2053817"/>
                <a:gd name="connsiteY3" fmla="*/ 137787 h 826556"/>
                <a:gd name="connsiteX4" fmla="*/ 2053817 w 2053817"/>
                <a:gd name="connsiteY4" fmla="*/ 688769 h 826556"/>
                <a:gd name="connsiteX5" fmla="*/ 1916030 w 2053817"/>
                <a:gd name="connsiteY5" fmla="*/ 826556 h 826556"/>
                <a:gd name="connsiteX6" fmla="*/ 137787 w 2053817"/>
                <a:gd name="connsiteY6" fmla="*/ 826556 h 826556"/>
                <a:gd name="connsiteX7" fmla="*/ 0 w 2053817"/>
                <a:gd name="connsiteY7" fmla="*/ 688769 h 826556"/>
                <a:gd name="connsiteX8" fmla="*/ 0 w 2053817"/>
                <a:gd name="connsiteY8" fmla="*/ 137787 h 8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53817" h="826556">
                  <a:moveTo>
                    <a:pt x="0" y="137787"/>
                  </a:moveTo>
                  <a:cubicBezTo>
                    <a:pt x="0" y="61689"/>
                    <a:pt x="61689" y="0"/>
                    <a:pt x="137787" y="0"/>
                  </a:cubicBezTo>
                  <a:lnTo>
                    <a:pt x="1916030" y="0"/>
                  </a:lnTo>
                  <a:cubicBezTo>
                    <a:pt x="1992128" y="0"/>
                    <a:pt x="2053817" y="61689"/>
                    <a:pt x="2053817" y="137787"/>
                  </a:cubicBezTo>
                  <a:lnTo>
                    <a:pt x="2053817" y="688769"/>
                  </a:lnTo>
                  <a:cubicBezTo>
                    <a:pt x="2053817" y="764867"/>
                    <a:pt x="1992128" y="826556"/>
                    <a:pt x="1916030" y="826556"/>
                  </a:cubicBezTo>
                  <a:lnTo>
                    <a:pt x="137787" y="826556"/>
                  </a:lnTo>
                  <a:cubicBezTo>
                    <a:pt x="61689" y="826556"/>
                    <a:pt x="0" y="764867"/>
                    <a:pt x="0" y="688769"/>
                  </a:cubicBezTo>
                  <a:lnTo>
                    <a:pt x="0" y="137787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1796" tIns="131796" rIns="131796" bIns="13179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effectLst/>
                </a:rPr>
                <a:t>Preparing </a:t>
              </a:r>
            </a:p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effectLst/>
                </a:rPr>
                <a:t>Trial Balance</a:t>
              </a:r>
              <a:endParaRPr lang="en-US" sz="2400" b="1" kern="1200" dirty="0">
                <a:effectLst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5604165" y="4315148"/>
              <a:ext cx="858837" cy="66805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9" name="Freeform 48"/>
            <p:cNvSpPr/>
            <p:nvPr/>
          </p:nvSpPr>
          <p:spPr>
            <a:xfrm>
              <a:off x="5334000" y="5269444"/>
              <a:ext cx="2431938" cy="826556"/>
            </a:xfrm>
            <a:custGeom>
              <a:avLst/>
              <a:gdLst>
                <a:gd name="connsiteX0" fmla="*/ 0 w 2124998"/>
                <a:gd name="connsiteY0" fmla="*/ 137787 h 826556"/>
                <a:gd name="connsiteX1" fmla="*/ 137787 w 2124998"/>
                <a:gd name="connsiteY1" fmla="*/ 0 h 826556"/>
                <a:gd name="connsiteX2" fmla="*/ 1987211 w 2124998"/>
                <a:gd name="connsiteY2" fmla="*/ 0 h 826556"/>
                <a:gd name="connsiteX3" fmla="*/ 2124998 w 2124998"/>
                <a:gd name="connsiteY3" fmla="*/ 137787 h 826556"/>
                <a:gd name="connsiteX4" fmla="*/ 2124998 w 2124998"/>
                <a:gd name="connsiteY4" fmla="*/ 688769 h 826556"/>
                <a:gd name="connsiteX5" fmla="*/ 1987211 w 2124998"/>
                <a:gd name="connsiteY5" fmla="*/ 826556 h 826556"/>
                <a:gd name="connsiteX6" fmla="*/ 137787 w 2124998"/>
                <a:gd name="connsiteY6" fmla="*/ 826556 h 826556"/>
                <a:gd name="connsiteX7" fmla="*/ 0 w 2124998"/>
                <a:gd name="connsiteY7" fmla="*/ 688769 h 826556"/>
                <a:gd name="connsiteX8" fmla="*/ 0 w 2124998"/>
                <a:gd name="connsiteY8" fmla="*/ 137787 h 8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24998" h="826556">
                  <a:moveTo>
                    <a:pt x="0" y="137787"/>
                  </a:moveTo>
                  <a:cubicBezTo>
                    <a:pt x="0" y="61689"/>
                    <a:pt x="61689" y="0"/>
                    <a:pt x="137787" y="0"/>
                  </a:cubicBezTo>
                  <a:lnTo>
                    <a:pt x="1987211" y="0"/>
                  </a:lnTo>
                  <a:cubicBezTo>
                    <a:pt x="2063309" y="0"/>
                    <a:pt x="2124998" y="61689"/>
                    <a:pt x="2124998" y="137787"/>
                  </a:cubicBezTo>
                  <a:lnTo>
                    <a:pt x="2124998" y="688769"/>
                  </a:lnTo>
                  <a:cubicBezTo>
                    <a:pt x="2124998" y="764867"/>
                    <a:pt x="2063309" y="826556"/>
                    <a:pt x="1987211" y="826556"/>
                  </a:cubicBezTo>
                  <a:lnTo>
                    <a:pt x="137787" y="826556"/>
                  </a:lnTo>
                  <a:cubicBezTo>
                    <a:pt x="61689" y="826556"/>
                    <a:pt x="0" y="764867"/>
                    <a:pt x="0" y="688769"/>
                  </a:cubicBezTo>
                  <a:lnTo>
                    <a:pt x="0" y="137787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1796" tIns="131796" rIns="131796" bIns="13179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effectLst/>
                </a:rPr>
                <a:t>Preparing </a:t>
              </a:r>
            </a:p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effectLst/>
                </a:rPr>
                <a:t>Final Accounts</a:t>
              </a:r>
              <a:endParaRPr lang="en-US" sz="2400" b="1" kern="1200" dirty="0">
                <a:effectLst/>
              </a:endParaRPr>
            </a:p>
          </p:txBody>
        </p:sp>
      </p:grpSp>
      <p:sp>
        <p:nvSpPr>
          <p:cNvPr id="58" name="TextBox 57"/>
          <p:cNvSpPr txBox="1"/>
          <p:nvPr/>
        </p:nvSpPr>
        <p:spPr>
          <a:xfrm>
            <a:off x="6477000" y="5867400"/>
            <a:ext cx="227314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Calibri" pitchFamily="34" charset="0"/>
                <a:cs typeface="Calibri" pitchFamily="34" charset="0"/>
              </a:rPr>
              <a:t>1.Trading A/c</a:t>
            </a:r>
          </a:p>
          <a:p>
            <a:r>
              <a:rPr lang="en-US" b="1" dirty="0" smtClean="0">
                <a:latin typeface="Calibri" pitchFamily="34" charset="0"/>
                <a:cs typeface="Calibri" pitchFamily="34" charset="0"/>
              </a:rPr>
              <a:t>2.Profit &amp; Loss A/c</a:t>
            </a:r>
          </a:p>
          <a:p>
            <a:r>
              <a:rPr lang="en-US" b="1" dirty="0" smtClean="0">
                <a:latin typeface="Calibri" pitchFamily="34" charset="0"/>
                <a:cs typeface="Calibri" pitchFamily="34" charset="0"/>
              </a:rPr>
              <a:t>3.Balance Sheet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9" name="Left-Up Arrow 58"/>
          <p:cNvSpPr/>
          <p:nvPr/>
        </p:nvSpPr>
        <p:spPr>
          <a:xfrm rot="5400000">
            <a:off x="5562600" y="5867400"/>
            <a:ext cx="850392" cy="850392"/>
          </a:xfrm>
          <a:prstGeom prst="leftUpArrow">
            <a:avLst>
              <a:gd name="adj1" fmla="val 14759"/>
              <a:gd name="adj2" fmla="val 16680"/>
              <a:gd name="adj3" fmla="val 23720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861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3172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36493"/>
            <a:ext cx="8543925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Accounting Cycle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(</a:t>
            </a:r>
            <a:r>
              <a:rPr lang="en-US" sz="2000" b="1" dirty="0" err="1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Computersied</a:t>
            </a:r>
            <a:r>
              <a:rPr lang="en-US" sz="20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 Process)</a:t>
            </a:r>
            <a:endParaRPr lang="en-US" sz="20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-295610" y="1222229"/>
            <a:ext cx="7907010" cy="4645171"/>
            <a:chOff x="-141072" y="1450829"/>
            <a:chExt cx="7907010" cy="4645171"/>
          </a:xfrm>
        </p:grpSpPr>
        <p:sp>
          <p:nvSpPr>
            <p:cNvPr id="36" name="Bent-Up Arrow 35"/>
            <p:cNvSpPr/>
            <p:nvPr/>
          </p:nvSpPr>
          <p:spPr>
            <a:xfrm rot="5400000">
              <a:off x="535423" y="2252012"/>
              <a:ext cx="701462" cy="798590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7" name="Freeform 36"/>
            <p:cNvSpPr/>
            <p:nvPr/>
          </p:nvSpPr>
          <p:spPr>
            <a:xfrm>
              <a:off x="-141072" y="1450829"/>
              <a:ext cx="2810210" cy="826556"/>
            </a:xfrm>
            <a:custGeom>
              <a:avLst/>
              <a:gdLst>
                <a:gd name="connsiteX0" fmla="*/ 0 w 2810210"/>
                <a:gd name="connsiteY0" fmla="*/ 137787 h 826556"/>
                <a:gd name="connsiteX1" fmla="*/ 137787 w 2810210"/>
                <a:gd name="connsiteY1" fmla="*/ 0 h 826556"/>
                <a:gd name="connsiteX2" fmla="*/ 2672423 w 2810210"/>
                <a:gd name="connsiteY2" fmla="*/ 0 h 826556"/>
                <a:gd name="connsiteX3" fmla="*/ 2810210 w 2810210"/>
                <a:gd name="connsiteY3" fmla="*/ 137787 h 826556"/>
                <a:gd name="connsiteX4" fmla="*/ 2810210 w 2810210"/>
                <a:gd name="connsiteY4" fmla="*/ 688769 h 826556"/>
                <a:gd name="connsiteX5" fmla="*/ 2672423 w 2810210"/>
                <a:gd name="connsiteY5" fmla="*/ 826556 h 826556"/>
                <a:gd name="connsiteX6" fmla="*/ 137787 w 2810210"/>
                <a:gd name="connsiteY6" fmla="*/ 826556 h 826556"/>
                <a:gd name="connsiteX7" fmla="*/ 0 w 2810210"/>
                <a:gd name="connsiteY7" fmla="*/ 688769 h 826556"/>
                <a:gd name="connsiteX8" fmla="*/ 0 w 2810210"/>
                <a:gd name="connsiteY8" fmla="*/ 137787 h 8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10210" h="826556">
                  <a:moveTo>
                    <a:pt x="0" y="137787"/>
                  </a:moveTo>
                  <a:cubicBezTo>
                    <a:pt x="0" y="61689"/>
                    <a:pt x="61689" y="0"/>
                    <a:pt x="137787" y="0"/>
                  </a:cubicBezTo>
                  <a:lnTo>
                    <a:pt x="2672423" y="0"/>
                  </a:lnTo>
                  <a:cubicBezTo>
                    <a:pt x="2748521" y="0"/>
                    <a:pt x="2810210" y="61689"/>
                    <a:pt x="2810210" y="137787"/>
                  </a:cubicBezTo>
                  <a:lnTo>
                    <a:pt x="2810210" y="688769"/>
                  </a:lnTo>
                  <a:cubicBezTo>
                    <a:pt x="2810210" y="764867"/>
                    <a:pt x="2748521" y="826556"/>
                    <a:pt x="2672423" y="826556"/>
                  </a:cubicBezTo>
                  <a:lnTo>
                    <a:pt x="137787" y="826556"/>
                  </a:lnTo>
                  <a:cubicBezTo>
                    <a:pt x="61689" y="826556"/>
                    <a:pt x="0" y="764867"/>
                    <a:pt x="0" y="688769"/>
                  </a:cubicBezTo>
                  <a:lnTo>
                    <a:pt x="0" y="137787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1796" tIns="131796" rIns="131796" bIns="13179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2300" b="1" dirty="0" smtClean="0">
                  <a:latin typeface="Calibri"/>
                </a:rPr>
                <a:t>   </a:t>
              </a:r>
              <a:r>
                <a:rPr lang="en-IN" sz="2400" b="1" dirty="0" smtClean="0">
                  <a:latin typeface="Calibri"/>
                </a:rPr>
                <a:t>Company Creation</a:t>
              </a:r>
              <a:endParaRPr lang="en-IN" sz="2400" b="1" kern="1200" dirty="0">
                <a:effectLst/>
                <a:latin typeface="Calibri"/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1962956" y="1537075"/>
              <a:ext cx="1107729" cy="66805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0" name="Bent-Up Arrow 39"/>
            <p:cNvSpPr/>
            <p:nvPr/>
          </p:nvSpPr>
          <p:spPr>
            <a:xfrm rot="5400000">
              <a:off x="1839294" y="3219102"/>
              <a:ext cx="701462" cy="798590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1" name="Freeform 40"/>
            <p:cNvSpPr/>
            <p:nvPr/>
          </p:nvSpPr>
          <p:spPr>
            <a:xfrm>
              <a:off x="1316330" y="2402369"/>
              <a:ext cx="2569872" cy="826556"/>
            </a:xfrm>
            <a:custGeom>
              <a:avLst/>
              <a:gdLst>
                <a:gd name="connsiteX0" fmla="*/ 0 w 2569872"/>
                <a:gd name="connsiteY0" fmla="*/ 137787 h 826556"/>
                <a:gd name="connsiteX1" fmla="*/ 137787 w 2569872"/>
                <a:gd name="connsiteY1" fmla="*/ 0 h 826556"/>
                <a:gd name="connsiteX2" fmla="*/ 2432085 w 2569872"/>
                <a:gd name="connsiteY2" fmla="*/ 0 h 826556"/>
                <a:gd name="connsiteX3" fmla="*/ 2569872 w 2569872"/>
                <a:gd name="connsiteY3" fmla="*/ 137787 h 826556"/>
                <a:gd name="connsiteX4" fmla="*/ 2569872 w 2569872"/>
                <a:gd name="connsiteY4" fmla="*/ 688769 h 826556"/>
                <a:gd name="connsiteX5" fmla="*/ 2432085 w 2569872"/>
                <a:gd name="connsiteY5" fmla="*/ 826556 h 826556"/>
                <a:gd name="connsiteX6" fmla="*/ 137787 w 2569872"/>
                <a:gd name="connsiteY6" fmla="*/ 826556 h 826556"/>
                <a:gd name="connsiteX7" fmla="*/ 0 w 2569872"/>
                <a:gd name="connsiteY7" fmla="*/ 688769 h 826556"/>
                <a:gd name="connsiteX8" fmla="*/ 0 w 2569872"/>
                <a:gd name="connsiteY8" fmla="*/ 137787 h 8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69872" h="826556">
                  <a:moveTo>
                    <a:pt x="0" y="137787"/>
                  </a:moveTo>
                  <a:cubicBezTo>
                    <a:pt x="0" y="61689"/>
                    <a:pt x="61689" y="0"/>
                    <a:pt x="137787" y="0"/>
                  </a:cubicBezTo>
                  <a:lnTo>
                    <a:pt x="2432085" y="0"/>
                  </a:lnTo>
                  <a:cubicBezTo>
                    <a:pt x="2508183" y="0"/>
                    <a:pt x="2569872" y="61689"/>
                    <a:pt x="2569872" y="137787"/>
                  </a:cubicBezTo>
                  <a:lnTo>
                    <a:pt x="2569872" y="688769"/>
                  </a:lnTo>
                  <a:cubicBezTo>
                    <a:pt x="2569872" y="764867"/>
                    <a:pt x="2508183" y="826556"/>
                    <a:pt x="2432085" y="826556"/>
                  </a:cubicBezTo>
                  <a:lnTo>
                    <a:pt x="137787" y="826556"/>
                  </a:lnTo>
                  <a:cubicBezTo>
                    <a:pt x="61689" y="826556"/>
                    <a:pt x="0" y="764867"/>
                    <a:pt x="0" y="688769"/>
                  </a:cubicBezTo>
                  <a:lnTo>
                    <a:pt x="0" y="137787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1796" tIns="131796" rIns="131796" bIns="13179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2400" b="1" dirty="0" smtClean="0">
                  <a:latin typeface="Calibri"/>
                </a:rPr>
                <a:t>Voucher</a:t>
              </a:r>
              <a:r>
                <a:rPr lang="en-IN" sz="2400" b="1" kern="1200" dirty="0" smtClean="0">
                  <a:effectLst/>
                  <a:latin typeface="Calibri"/>
                  <a:ea typeface="+mn-ea"/>
                  <a:cs typeface="+mn-cs"/>
                </a:rPr>
                <a:t> Entry</a:t>
              </a:r>
              <a:endParaRPr lang="en-IN" sz="2400" b="1" kern="1200" dirty="0">
                <a:effectLst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3199673" y="2453273"/>
              <a:ext cx="1266038" cy="66805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3" name="Bent-Up Arrow 42"/>
            <p:cNvSpPr/>
            <p:nvPr/>
          </p:nvSpPr>
          <p:spPr>
            <a:xfrm rot="5400000">
              <a:off x="3365543" y="4085407"/>
              <a:ext cx="701462" cy="798590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4" name="Freeform 43"/>
            <p:cNvSpPr/>
            <p:nvPr/>
          </p:nvSpPr>
          <p:spPr>
            <a:xfrm>
              <a:off x="2602959" y="3369466"/>
              <a:ext cx="2426245" cy="826556"/>
            </a:xfrm>
            <a:custGeom>
              <a:avLst/>
              <a:gdLst>
                <a:gd name="connsiteX0" fmla="*/ 0 w 2426245"/>
                <a:gd name="connsiteY0" fmla="*/ 137787 h 826556"/>
                <a:gd name="connsiteX1" fmla="*/ 137787 w 2426245"/>
                <a:gd name="connsiteY1" fmla="*/ 0 h 826556"/>
                <a:gd name="connsiteX2" fmla="*/ 2288458 w 2426245"/>
                <a:gd name="connsiteY2" fmla="*/ 0 h 826556"/>
                <a:gd name="connsiteX3" fmla="*/ 2426245 w 2426245"/>
                <a:gd name="connsiteY3" fmla="*/ 137787 h 826556"/>
                <a:gd name="connsiteX4" fmla="*/ 2426245 w 2426245"/>
                <a:gd name="connsiteY4" fmla="*/ 688769 h 826556"/>
                <a:gd name="connsiteX5" fmla="*/ 2288458 w 2426245"/>
                <a:gd name="connsiteY5" fmla="*/ 826556 h 826556"/>
                <a:gd name="connsiteX6" fmla="*/ 137787 w 2426245"/>
                <a:gd name="connsiteY6" fmla="*/ 826556 h 826556"/>
                <a:gd name="connsiteX7" fmla="*/ 0 w 2426245"/>
                <a:gd name="connsiteY7" fmla="*/ 688769 h 826556"/>
                <a:gd name="connsiteX8" fmla="*/ 0 w 2426245"/>
                <a:gd name="connsiteY8" fmla="*/ 137787 h 8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26245" h="826556">
                  <a:moveTo>
                    <a:pt x="0" y="137787"/>
                  </a:moveTo>
                  <a:cubicBezTo>
                    <a:pt x="0" y="61689"/>
                    <a:pt x="61689" y="0"/>
                    <a:pt x="137787" y="0"/>
                  </a:cubicBezTo>
                  <a:lnTo>
                    <a:pt x="2288458" y="0"/>
                  </a:lnTo>
                  <a:cubicBezTo>
                    <a:pt x="2364556" y="0"/>
                    <a:pt x="2426245" y="61689"/>
                    <a:pt x="2426245" y="137787"/>
                  </a:cubicBezTo>
                  <a:lnTo>
                    <a:pt x="2426245" y="688769"/>
                  </a:lnTo>
                  <a:cubicBezTo>
                    <a:pt x="2426245" y="764867"/>
                    <a:pt x="2364556" y="826556"/>
                    <a:pt x="2288458" y="826556"/>
                  </a:cubicBezTo>
                  <a:lnTo>
                    <a:pt x="137787" y="826556"/>
                  </a:lnTo>
                  <a:cubicBezTo>
                    <a:pt x="61689" y="826556"/>
                    <a:pt x="0" y="764867"/>
                    <a:pt x="0" y="688769"/>
                  </a:cubicBezTo>
                  <a:lnTo>
                    <a:pt x="0" y="137787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1796" tIns="131796" rIns="131796" bIns="13179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dirty="0" smtClean="0">
                  <a:latin typeface="Calibri"/>
                </a:rPr>
                <a:t>Reports</a:t>
              </a:r>
              <a:endParaRPr lang="en-IN" sz="2400" b="1" kern="1200" dirty="0">
                <a:effectLst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4360548" y="3386652"/>
              <a:ext cx="858837" cy="66805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6" name="Bent-Up Arrow 45"/>
            <p:cNvSpPr/>
            <p:nvPr/>
          </p:nvSpPr>
          <p:spPr>
            <a:xfrm rot="5400000">
              <a:off x="4609159" y="5013903"/>
              <a:ext cx="701462" cy="798590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5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7" name="Freeform 46"/>
            <p:cNvSpPr/>
            <p:nvPr/>
          </p:nvSpPr>
          <p:spPr>
            <a:xfrm>
              <a:off x="4118377" y="4278844"/>
              <a:ext cx="2466922" cy="826556"/>
            </a:xfrm>
            <a:custGeom>
              <a:avLst/>
              <a:gdLst>
                <a:gd name="connsiteX0" fmla="*/ 0 w 2053817"/>
                <a:gd name="connsiteY0" fmla="*/ 137787 h 826556"/>
                <a:gd name="connsiteX1" fmla="*/ 137787 w 2053817"/>
                <a:gd name="connsiteY1" fmla="*/ 0 h 826556"/>
                <a:gd name="connsiteX2" fmla="*/ 1916030 w 2053817"/>
                <a:gd name="connsiteY2" fmla="*/ 0 h 826556"/>
                <a:gd name="connsiteX3" fmla="*/ 2053817 w 2053817"/>
                <a:gd name="connsiteY3" fmla="*/ 137787 h 826556"/>
                <a:gd name="connsiteX4" fmla="*/ 2053817 w 2053817"/>
                <a:gd name="connsiteY4" fmla="*/ 688769 h 826556"/>
                <a:gd name="connsiteX5" fmla="*/ 1916030 w 2053817"/>
                <a:gd name="connsiteY5" fmla="*/ 826556 h 826556"/>
                <a:gd name="connsiteX6" fmla="*/ 137787 w 2053817"/>
                <a:gd name="connsiteY6" fmla="*/ 826556 h 826556"/>
                <a:gd name="connsiteX7" fmla="*/ 0 w 2053817"/>
                <a:gd name="connsiteY7" fmla="*/ 688769 h 826556"/>
                <a:gd name="connsiteX8" fmla="*/ 0 w 2053817"/>
                <a:gd name="connsiteY8" fmla="*/ 137787 h 8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53817" h="826556">
                  <a:moveTo>
                    <a:pt x="0" y="137787"/>
                  </a:moveTo>
                  <a:cubicBezTo>
                    <a:pt x="0" y="61689"/>
                    <a:pt x="61689" y="0"/>
                    <a:pt x="137787" y="0"/>
                  </a:cubicBezTo>
                  <a:lnTo>
                    <a:pt x="1916030" y="0"/>
                  </a:lnTo>
                  <a:cubicBezTo>
                    <a:pt x="1992128" y="0"/>
                    <a:pt x="2053817" y="61689"/>
                    <a:pt x="2053817" y="137787"/>
                  </a:cubicBezTo>
                  <a:lnTo>
                    <a:pt x="2053817" y="688769"/>
                  </a:lnTo>
                  <a:cubicBezTo>
                    <a:pt x="2053817" y="764867"/>
                    <a:pt x="1992128" y="826556"/>
                    <a:pt x="1916030" y="826556"/>
                  </a:cubicBezTo>
                  <a:lnTo>
                    <a:pt x="137787" y="826556"/>
                  </a:lnTo>
                  <a:cubicBezTo>
                    <a:pt x="61689" y="826556"/>
                    <a:pt x="0" y="764867"/>
                    <a:pt x="0" y="688769"/>
                  </a:cubicBezTo>
                  <a:lnTo>
                    <a:pt x="0" y="137787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1796" tIns="131796" rIns="131796" bIns="13179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effectLst/>
                </a:rPr>
                <a:t>Trial Balance</a:t>
              </a:r>
              <a:endParaRPr lang="en-US" sz="2400" b="1" kern="1200" dirty="0">
                <a:effectLst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5604165" y="4315148"/>
              <a:ext cx="858837" cy="66805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9" name="Freeform 48"/>
            <p:cNvSpPr/>
            <p:nvPr/>
          </p:nvSpPr>
          <p:spPr>
            <a:xfrm>
              <a:off x="5334000" y="5269444"/>
              <a:ext cx="2431938" cy="826556"/>
            </a:xfrm>
            <a:custGeom>
              <a:avLst/>
              <a:gdLst>
                <a:gd name="connsiteX0" fmla="*/ 0 w 2124998"/>
                <a:gd name="connsiteY0" fmla="*/ 137787 h 826556"/>
                <a:gd name="connsiteX1" fmla="*/ 137787 w 2124998"/>
                <a:gd name="connsiteY1" fmla="*/ 0 h 826556"/>
                <a:gd name="connsiteX2" fmla="*/ 1987211 w 2124998"/>
                <a:gd name="connsiteY2" fmla="*/ 0 h 826556"/>
                <a:gd name="connsiteX3" fmla="*/ 2124998 w 2124998"/>
                <a:gd name="connsiteY3" fmla="*/ 137787 h 826556"/>
                <a:gd name="connsiteX4" fmla="*/ 2124998 w 2124998"/>
                <a:gd name="connsiteY4" fmla="*/ 688769 h 826556"/>
                <a:gd name="connsiteX5" fmla="*/ 1987211 w 2124998"/>
                <a:gd name="connsiteY5" fmla="*/ 826556 h 826556"/>
                <a:gd name="connsiteX6" fmla="*/ 137787 w 2124998"/>
                <a:gd name="connsiteY6" fmla="*/ 826556 h 826556"/>
                <a:gd name="connsiteX7" fmla="*/ 0 w 2124998"/>
                <a:gd name="connsiteY7" fmla="*/ 688769 h 826556"/>
                <a:gd name="connsiteX8" fmla="*/ 0 w 2124998"/>
                <a:gd name="connsiteY8" fmla="*/ 137787 h 82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24998" h="826556">
                  <a:moveTo>
                    <a:pt x="0" y="137787"/>
                  </a:moveTo>
                  <a:cubicBezTo>
                    <a:pt x="0" y="61689"/>
                    <a:pt x="61689" y="0"/>
                    <a:pt x="137787" y="0"/>
                  </a:cubicBezTo>
                  <a:lnTo>
                    <a:pt x="1987211" y="0"/>
                  </a:lnTo>
                  <a:cubicBezTo>
                    <a:pt x="2063309" y="0"/>
                    <a:pt x="2124998" y="61689"/>
                    <a:pt x="2124998" y="137787"/>
                  </a:cubicBezTo>
                  <a:lnTo>
                    <a:pt x="2124998" y="688769"/>
                  </a:lnTo>
                  <a:cubicBezTo>
                    <a:pt x="2124998" y="764867"/>
                    <a:pt x="2063309" y="826556"/>
                    <a:pt x="1987211" y="826556"/>
                  </a:cubicBezTo>
                  <a:lnTo>
                    <a:pt x="137787" y="826556"/>
                  </a:lnTo>
                  <a:cubicBezTo>
                    <a:pt x="61689" y="826556"/>
                    <a:pt x="0" y="764867"/>
                    <a:pt x="0" y="688769"/>
                  </a:cubicBezTo>
                  <a:lnTo>
                    <a:pt x="0" y="137787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1796" tIns="131796" rIns="131796" bIns="131796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effectLst/>
                </a:rPr>
                <a:t>Final Accounts</a:t>
              </a:r>
              <a:endParaRPr lang="en-US" sz="2400" b="1" kern="1200" dirty="0">
                <a:effectLst/>
              </a:endParaRPr>
            </a:p>
          </p:txBody>
        </p:sp>
      </p:grpSp>
      <p:sp>
        <p:nvSpPr>
          <p:cNvPr id="58" name="TextBox 57"/>
          <p:cNvSpPr txBox="1"/>
          <p:nvPr/>
        </p:nvSpPr>
        <p:spPr>
          <a:xfrm>
            <a:off x="6477000" y="5867400"/>
            <a:ext cx="227314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Calibri" pitchFamily="34" charset="0"/>
                <a:cs typeface="Calibri" pitchFamily="34" charset="0"/>
              </a:rPr>
              <a:t>1.Trading A/c</a:t>
            </a:r>
          </a:p>
          <a:p>
            <a:r>
              <a:rPr lang="en-US" b="1" dirty="0" smtClean="0">
                <a:latin typeface="Calibri" pitchFamily="34" charset="0"/>
                <a:cs typeface="Calibri" pitchFamily="34" charset="0"/>
              </a:rPr>
              <a:t>2.Profit &amp; Loss A/c</a:t>
            </a:r>
          </a:p>
          <a:p>
            <a:r>
              <a:rPr lang="en-US" b="1" dirty="0" smtClean="0">
                <a:latin typeface="Calibri" pitchFamily="34" charset="0"/>
                <a:cs typeface="Calibri" pitchFamily="34" charset="0"/>
              </a:rPr>
              <a:t>3.Balance Sheet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Striped Right Arrow 1"/>
          <p:cNvSpPr/>
          <p:nvPr/>
        </p:nvSpPr>
        <p:spPr>
          <a:xfrm>
            <a:off x="2592936" y="1447800"/>
            <a:ext cx="1217064" cy="304800"/>
          </a:xfrm>
          <a:prstGeom prst="stripedRightArrow">
            <a:avLst/>
          </a:prstGeom>
          <a:ln>
            <a:solidFill>
              <a:schemeClr val="bg1">
                <a:lumMod val="8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3810000" y="1222229"/>
            <a:ext cx="5334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2000" b="1" dirty="0" smtClean="0">
                <a:latin typeface="Calibri" pitchFamily="34" charset="0"/>
                <a:cs typeface="Calibri" pitchFamily="34" charset="0"/>
              </a:rPr>
              <a:t>Group/Ledger Creation.</a:t>
            </a:r>
          </a:p>
          <a:p>
            <a:pPr marL="342900" indent="-342900">
              <a:buAutoNum type="arabicPeriod"/>
            </a:pPr>
            <a:r>
              <a:rPr lang="en-US" sz="2000" b="1" dirty="0" smtClean="0">
                <a:latin typeface="Calibri" pitchFamily="34" charset="0"/>
                <a:cs typeface="Calibri" pitchFamily="34" charset="0"/>
              </a:rPr>
              <a:t>Stock Creation</a:t>
            </a:r>
            <a:endParaRPr lang="en-US" sz="20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4" name="Left-Up Arrow 23"/>
          <p:cNvSpPr/>
          <p:nvPr/>
        </p:nvSpPr>
        <p:spPr>
          <a:xfrm rot="5400000">
            <a:off x="5562600" y="5867400"/>
            <a:ext cx="850392" cy="850392"/>
          </a:xfrm>
          <a:prstGeom prst="leftUpArrow">
            <a:avLst>
              <a:gd name="adj1" fmla="val 14759"/>
              <a:gd name="adj2" fmla="val 16680"/>
              <a:gd name="adj3" fmla="val 23720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Arrow Connector 4"/>
          <p:cNvCxnSpPr/>
          <p:nvPr/>
        </p:nvCxnSpPr>
        <p:spPr>
          <a:xfrm flipH="1">
            <a:off x="2209800" y="3967422"/>
            <a:ext cx="383136" cy="174757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H="1">
            <a:off x="2209800" y="4833867"/>
            <a:ext cx="1747614" cy="97515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>
            <a:off x="2362282" y="5809024"/>
            <a:ext cx="2745504" cy="5837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Oval Callout 7"/>
          <p:cNvSpPr/>
          <p:nvPr/>
        </p:nvSpPr>
        <p:spPr>
          <a:xfrm>
            <a:off x="0" y="4722012"/>
            <a:ext cx="2072779" cy="1191929"/>
          </a:xfrm>
          <a:prstGeom prst="wedgeEllipseCallout">
            <a:avLst>
              <a:gd name="adj1" fmla="val 58687"/>
              <a:gd name="adj2" fmla="val 48801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utomatically prepared by Tal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558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55777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0" y="1447800"/>
            <a:ext cx="9076646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          When an businessmen start the business, he needs to maintain the books of accounts to have the reco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2480846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Book-keeping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0" y="3011269"/>
            <a:ext cx="9076645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The </a:t>
            </a:r>
            <a:r>
              <a:rPr lang="en-US" b="1" dirty="0" err="1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maintainance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of books of accounts in a systematic manner is called as Book-keeping. 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4191000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Accounting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0" y="4763869"/>
            <a:ext cx="9143999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Is the art of Recording, Classifying, </a:t>
            </a:r>
            <a:r>
              <a:rPr lang="en-US" b="1" dirty="0" err="1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S</a:t>
            </a:r>
            <a:r>
              <a:rPr lang="en-US" b="1" dirty="0" err="1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ummarising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, &amp; Presenting the financial transactions of business.  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5551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25764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1" y="1143000"/>
            <a:ext cx="9094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Journal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557754"/>
            <a:ext cx="9094674" cy="135421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It is a book of original entry or prime entry. It is a simple book of accounts in which all the business transactions are originally recorded date-wise &amp; from this they are posted to the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l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dger account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Specimen: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3647182"/>
            <a:ext cx="9139409" cy="107721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Ledger is a main book of account in which various accounts of personal, real, &amp; nominal nature are opened &amp; maintained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Specimen: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1" y="3187244"/>
            <a:ext cx="9094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Ledger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0" y="5029200"/>
            <a:ext cx="9094674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Trial Balance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5486400"/>
            <a:ext cx="9094675" cy="107721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Trial balance is a statement prepared with the balance or total of debit &amp; credits of all ledger to check whether the figures are correct &amp; balanced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Specimen:</a:t>
            </a:r>
          </a:p>
        </p:txBody>
      </p:sp>
    </p:spTree>
    <p:extLst>
      <p:ext uri="{BB962C8B-B14F-4D97-AF65-F5344CB8AC3E}">
        <p14:creationId xmlns:p14="http://schemas.microsoft.com/office/powerpoint/2010/main" val="293736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218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1" y="1227654"/>
            <a:ext cx="9094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Trading Account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642408"/>
            <a:ext cx="9094674" cy="193899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Trading account is prepared to find out the Gross Profit or Gross Loss made by the concern from buying &amp; selling during the accounting year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Note: All Expenses relating to the Trading A/c are Direct Expenses.                                   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All Incomes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relating to the Trading A/c are Direct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Incomes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Format: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4411920"/>
            <a:ext cx="9139409" cy="23698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This A/c is prepared to find out the Net Profit or Net Loss made by the concern during the accounting year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Note: All Expenses relating to the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Profit &amp; Loss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/c are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Indirect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xpenses.                                   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All Incomes relating to the Profit &amp; Loss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/c are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Indirect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Incomes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Format: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  <a:p>
            <a:pPr>
              <a:spcAft>
                <a:spcPts val="1200"/>
              </a:spcAft>
            </a:pPr>
            <a:endParaRPr lang="en-US" b="1" dirty="0" smtClean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1" y="4038600"/>
            <a:ext cx="9094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Profit &amp; Loss Account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972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05098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1" y="1479828"/>
            <a:ext cx="9094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Balance Sheet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894582"/>
            <a:ext cx="9094674" cy="107721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It is a statement of Assets &amp; Liabilities prepared with a view to ascertain the financial position of the business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Format: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91" y="5117068"/>
            <a:ext cx="9139409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Group is a collection of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Ledgers of the same nature.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1" y="4799112"/>
            <a:ext cx="9094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Group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0" y="3700046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Meanings Relating to Tally</a:t>
            </a:r>
          </a:p>
        </p:txBody>
      </p:sp>
    </p:spTree>
    <p:extLst>
      <p:ext uri="{BB962C8B-B14F-4D97-AF65-F5344CB8AC3E}">
        <p14:creationId xmlns:p14="http://schemas.microsoft.com/office/powerpoint/2010/main" val="3496234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27405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1" y="1227654"/>
            <a:ext cx="9094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Ledger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642408"/>
            <a:ext cx="9094674" cy="9233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Ledger is a actual account head to which you identify a transaction &amp; must be used in all vouchers without ledger we cannot record any transaction in Tally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3418582"/>
            <a:ext cx="9139409" cy="280076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A Voucher is a primary document that contains the details of transactions.</a:t>
            </a:r>
          </a:p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</a:t>
            </a:r>
            <a:r>
              <a:rPr lang="en-US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ypes of Voucher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</a:t>
            </a:r>
          </a:p>
          <a:p>
            <a:pPr marL="342900" indent="-342900">
              <a:spcAft>
                <a:spcPts val="1200"/>
              </a:spcAft>
              <a:buAutoNum type="arabicPeriod"/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ccounting Voucher.</a:t>
            </a:r>
          </a:p>
          <a:p>
            <a:pPr marL="342900" indent="-342900">
              <a:spcAft>
                <a:spcPts val="1200"/>
              </a:spcAft>
              <a:buAutoNum type="arabicPeriod"/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Inventory Voucher.</a:t>
            </a:r>
          </a:p>
          <a:p>
            <a:pPr marL="342900" indent="-342900">
              <a:spcAft>
                <a:spcPts val="1200"/>
              </a:spcAft>
              <a:buAutoNum type="arabicPeriod"/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Payroll Voucher.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  <a:p>
            <a:pPr>
              <a:spcAft>
                <a:spcPts val="1200"/>
              </a:spcAft>
            </a:pPr>
            <a:endParaRPr lang="en-US" b="1" dirty="0" smtClean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1" y="3124200"/>
            <a:ext cx="9094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Voucher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875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3083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324531" y="115669"/>
            <a:ext cx="854392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-1" y="1479828"/>
            <a:ext cx="909467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43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Tally ERP.9</a:t>
            </a:r>
            <a:endParaRPr lang="en-US" sz="43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-76200" y="2205335"/>
            <a:ext cx="9139409" cy="5232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800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Power of Simplicity</a:t>
            </a:r>
            <a:endParaRPr lang="en-US" sz="2800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0" y="3657600"/>
            <a:ext cx="914400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Neo Sans Std" pitchFamily="34" charset="0"/>
                <a:ea typeface="ＭＳ Ｐゴシック" charset="0"/>
              </a:rPr>
              <a:t>     ERP – Enterprise Resource Planning </a:t>
            </a:r>
          </a:p>
        </p:txBody>
      </p:sp>
    </p:spTree>
    <p:extLst>
      <p:ext uri="{BB962C8B-B14F-4D97-AF65-F5344CB8AC3E}">
        <p14:creationId xmlns:p14="http://schemas.microsoft.com/office/powerpoint/2010/main" val="4221499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1542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0" y="1447800"/>
            <a:ext cx="9076646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         Tally is the world’s fastest &amp; more powerful Multi-lingual business accounting &amp; inventory management application software.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Tally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2480846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Simple meaning of Tally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0" y="3011269"/>
            <a:ext cx="9076645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It is an accounting package which is used to maintain day-to-day transactions &amp; used to know the financial position of the business.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0" y="3810000"/>
            <a:ext cx="9144000" cy="9233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Tally is an accounting software which automates &amp; integrates all your business operations like Manufacturing, Purchases, Sales, Finance, Inventory.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0" y="4953000"/>
            <a:ext cx="9144000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Tally was introduced in the </a:t>
            </a:r>
            <a:r>
              <a:rPr lang="en-US" b="1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year </a:t>
            </a:r>
            <a:r>
              <a:rPr lang="en-US" b="1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1986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by the Bharat </a:t>
            </a:r>
            <a:r>
              <a:rPr lang="en-US" b="1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Goenka,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Later it was developed by Tally Solutions which is located in Bangalore. </a:t>
            </a:r>
            <a:endParaRPr lang="en-US" b="1" dirty="0" smtClean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3464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52607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Tally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1718846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Features of Tally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4531" y="2531745"/>
            <a:ext cx="8599715" cy="209288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Multi-lingual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Flexible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Remote acces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err="1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ally.Net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(Online Transaction)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asy to Buy, Quick to Install &amp; Easy to Learn &amp; to Use.</a:t>
            </a:r>
          </a:p>
        </p:txBody>
      </p:sp>
    </p:spTree>
    <p:extLst>
      <p:ext uri="{BB962C8B-B14F-4D97-AF65-F5344CB8AC3E}">
        <p14:creationId xmlns:p14="http://schemas.microsoft.com/office/powerpoint/2010/main" val="28778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695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Tally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1718846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Tally Versions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01485" y="2531745"/>
            <a:ext cx="8599715" cy="295465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ally 4.5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ally 5.4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ally 6.3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ally 7.2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ally 8.1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ally 9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ally ERP.9</a:t>
            </a:r>
          </a:p>
        </p:txBody>
      </p:sp>
    </p:spTree>
    <p:extLst>
      <p:ext uri="{BB962C8B-B14F-4D97-AF65-F5344CB8AC3E}">
        <p14:creationId xmlns:p14="http://schemas.microsoft.com/office/powerpoint/2010/main" val="3339822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695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Tally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1718846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Application areas of Tally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4531" y="2362200"/>
            <a:ext cx="8599715" cy="424731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Individual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raders,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Shop keeper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ompany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Partnership Firm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gent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hartered Accountant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dvocate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haritable trust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.Service industry.</a:t>
            </a:r>
          </a:p>
        </p:txBody>
      </p:sp>
    </p:spTree>
    <p:extLst>
      <p:ext uri="{BB962C8B-B14F-4D97-AF65-F5344CB8AC3E}">
        <p14:creationId xmlns:p14="http://schemas.microsoft.com/office/powerpoint/2010/main" val="3339822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695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Tally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1718846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Advantages of Tally 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4531" y="2531745"/>
            <a:ext cx="8599715" cy="338554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Data Im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p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ort &amp; Export facility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udit facility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Scenario management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Budgeting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Price List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Ratio Analysi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Credit Control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racking </a:t>
            </a:r>
            <a:r>
              <a:rPr lang="en-US" b="1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hrough Receipt/Delivery Note.</a:t>
            </a:r>
            <a:endParaRPr lang="en-US" b="1" dirty="0" smtClean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9822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8232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1109246"/>
            <a:ext cx="907664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Need of Accounting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4531" y="1447800"/>
            <a:ext cx="8599715" cy="295465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o create record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o create evidence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For decision making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o have the control over the busines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Prevention of frauds &amp; losse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o know the Profit &amp; Los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4385846"/>
            <a:ext cx="9144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Methods of Accounting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10571" y="4876800"/>
            <a:ext cx="8866075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Business transactions are recorded in two different ways: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76931" y="5486400"/>
            <a:ext cx="8599715" cy="123110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Single Entry System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Double 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ntry System.</a:t>
            </a:r>
            <a:endParaRPr lang="en-US" b="1" dirty="0" smtClean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177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381690">
            <a:off x="4163958" y="5508369"/>
            <a:ext cx="4606268" cy="1500968"/>
          </a:xfrm>
        </p:spPr>
        <p:txBody>
          <a:bodyPr>
            <a:normAutofit/>
          </a:bodyPr>
          <a:lstStyle/>
          <a:p>
            <a:r>
              <a:rPr lang="en-US" sz="3200" b="1" dirty="0" smtClean="0">
                <a:latin typeface="MV Boli" pitchFamily="2" charset="0"/>
                <a:cs typeface="MV Boli" pitchFamily="2" charset="0"/>
              </a:rPr>
              <a:t>Surround Yourself </a:t>
            </a:r>
          </a:p>
          <a:p>
            <a:r>
              <a:rPr lang="en-US" sz="3200" b="1" dirty="0" smtClean="0">
                <a:latin typeface="MV Boli" pitchFamily="2" charset="0"/>
                <a:cs typeface="MV Boli" pitchFamily="2" charset="0"/>
              </a:rPr>
              <a:t>With Positive People</a:t>
            </a:r>
            <a:endParaRPr lang="en-US" sz="3200" b="1" dirty="0">
              <a:latin typeface="MV Boli" pitchFamily="2" charset="0"/>
              <a:cs typeface="MV Boli" pitchFamily="2" charset="0"/>
            </a:endParaRPr>
          </a:p>
        </p:txBody>
      </p:sp>
      <p:pic>
        <p:nvPicPr>
          <p:cNvPr id="5" name="Picture Placeholder 4" descr="sky-paper(2).jpg"/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l="14255" r="14255"/>
          <a:stretch>
            <a:fillRect/>
          </a:stretch>
        </p:blipFill>
        <p:spPr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723615937"/>
      </p:ext>
    </p:extLst>
  </p:cSld>
  <p:clrMapOvr>
    <a:masterClrMapping/>
  </p:clrMapOvr>
  <p:transition spd="slow">
    <p:diamond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07153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0572" y="1261646"/>
            <a:ext cx="44958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Single Entry System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28600" y="3700046"/>
            <a:ext cx="44958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Double Entry System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81000" y="1905000"/>
            <a:ext cx="8599715" cy="123110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Under this system we record only one aspect of a transaction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Under this system we maintain only one book. </a:t>
            </a:r>
            <a:endParaRPr lang="en-US" b="1" dirty="0" smtClean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It may be used by Sole trading concern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.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81000" y="4343400"/>
            <a:ext cx="8599715" cy="123110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he method of recording of two-fold aspects of a transaction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wo-fold aspects are Debit &amp; Credit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For each Debit there is a corresponding Credit &amp; vice versa.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0048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985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0572" y="1261646"/>
            <a:ext cx="44958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Classification of Accounts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975430360"/>
              </p:ext>
            </p:extLst>
          </p:nvPr>
        </p:nvGraphicFramePr>
        <p:xfrm>
          <a:off x="1548493" y="18288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1566180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606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1" y="1261646"/>
            <a:ext cx="9094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Personal Accounts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676400"/>
            <a:ext cx="9094674" cy="107721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These are the accounts relating to Persons, Firms, Companies, Institutes etc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x: Rama’s Account, SBI Bank, ABC Co. ltd etc.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0" y="3431738"/>
            <a:ext cx="9139409" cy="129266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These are the accounts relating to Properties &amp; Assets.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  <a:p>
            <a:pPr>
              <a:spcAft>
                <a:spcPts val="1200"/>
              </a:spcAft>
            </a:pPr>
            <a:r>
              <a:rPr lang="en-US" sz="2000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Tangible Assets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Building, Furniture, Cash, Stock etc.</a:t>
            </a:r>
          </a:p>
          <a:p>
            <a:pPr>
              <a:spcAft>
                <a:spcPts val="1200"/>
              </a:spcAft>
            </a:pPr>
            <a:r>
              <a:rPr lang="en-US" sz="2000" b="1" u="sng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I</a:t>
            </a:r>
            <a:r>
              <a:rPr lang="en-US" sz="2000" b="1" u="sng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ntangible </a:t>
            </a:r>
            <a:r>
              <a:rPr lang="en-US" sz="2000" b="1" u="sng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ssets</a:t>
            </a: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: Goodwill, Patent, Trade Mark, Copyright etc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-1" y="2971800"/>
            <a:ext cx="909467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Real Accounts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0" y="4953000"/>
            <a:ext cx="9094674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Nominal Accounts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5410200"/>
            <a:ext cx="9094675" cy="107721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                          These are the accounts relating to Expenses &amp; Losses, Incomes &amp; Gains.</a:t>
            </a:r>
          </a:p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Ex: Salary, Rent, Wages etc.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4581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4923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0572" y="1261646"/>
            <a:ext cx="44958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Rules of Accounts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174826044"/>
              </p:ext>
            </p:extLst>
          </p:nvPr>
        </p:nvGraphicFramePr>
        <p:xfrm>
          <a:off x="1524000" y="19558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783071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6596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0572" y="1642646"/>
            <a:ext cx="44958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How to apply the Rules:</a:t>
            </a:r>
            <a:endParaRPr lang="en-US" sz="22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4531" y="2452807"/>
            <a:ext cx="8599715" cy="166199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Find out which are the two accounts effected in the transaction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Find out to which type of account those two accounts belong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Apply the respective Rules to the above two accounts.</a:t>
            </a:r>
          </a:p>
          <a:p>
            <a:pPr marL="285750" indent="-285750">
              <a:spcAft>
                <a:spcPts val="1200"/>
              </a:spcAft>
              <a:buBlip>
                <a:blip r:embed="rId6"/>
              </a:buBlip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Write the particular account to be Debited &amp; Credited</a:t>
            </a:r>
            <a:r>
              <a:rPr lang="en-US" b="1" dirty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.</a:t>
            </a:r>
            <a:endParaRPr lang="en-US" b="1" dirty="0" smtClean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058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5593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 rot="5400000">
            <a:off x="4581414" y="-2181922"/>
            <a:ext cx="0" cy="63450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24531" y="115669"/>
            <a:ext cx="85439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B538F"/>
                </a:solidFill>
                <a:latin typeface="Neo Sans Std Medium" pitchFamily="34" charset="0"/>
                <a:ea typeface="ＭＳ Ｐゴシック" charset="0"/>
              </a:rPr>
              <a:t>Tally ERP.9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B538F"/>
                </a:solidFill>
                <a:latin typeface="Neo Sans Std" pitchFamily="34" charset="0"/>
                <a:ea typeface="ＭＳ Ｐゴシック" charset="0"/>
              </a:rPr>
              <a:t>Introduction of Accounting</a:t>
            </a:r>
            <a:endParaRPr lang="en-US" sz="2400" b="1" dirty="0">
              <a:solidFill>
                <a:srgbClr val="0B538F"/>
              </a:solidFill>
              <a:latin typeface="Neo Sans Std" pitchFamily="34" charset="0"/>
              <a:ea typeface="ＭＳ Ｐゴシック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1373005"/>
              </p:ext>
            </p:extLst>
          </p:nvPr>
        </p:nvGraphicFramePr>
        <p:xfrm>
          <a:off x="1066800" y="1530312"/>
          <a:ext cx="7086600" cy="22796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1650"/>
                <a:gridCol w="1771650"/>
                <a:gridCol w="1771650"/>
                <a:gridCol w="1771650"/>
              </a:tblGrid>
              <a:tr h="50800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Accoun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Type of Accoun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Rul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Debit/Credit</a:t>
                      </a:r>
                      <a:endParaRPr lang="en-US" dirty="0"/>
                    </a:p>
                  </a:txBody>
                  <a:tcPr/>
                </a:tc>
              </a:tr>
              <a:tr h="565804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Salar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Nominal A/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Expens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Debit</a:t>
                      </a:r>
                      <a:endParaRPr lang="en-US" dirty="0"/>
                    </a:p>
                  </a:txBody>
                  <a:tcPr/>
                </a:tc>
              </a:tr>
              <a:tr h="565804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Cas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Real A/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Goes ou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Credit</a:t>
                      </a:r>
                      <a:endParaRPr lang="en-US" dirty="0"/>
                    </a:p>
                  </a:txBody>
                  <a:tcPr/>
                </a:tc>
              </a:tr>
              <a:tr h="565804">
                <a:tc gridSpan="4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 Salary A/c.</a:t>
                      </a:r>
                      <a:r>
                        <a:rPr lang="en-US" baseline="0" dirty="0" smtClean="0"/>
                        <a:t> . . . . . . . . . . . . . . . . ..</a:t>
                      </a:r>
                      <a:r>
                        <a:rPr lang="en-US" baseline="0" dirty="0" err="1" smtClean="0"/>
                        <a:t>Dr</a:t>
                      </a:r>
                      <a:r>
                        <a:rPr lang="en-US" baseline="0" dirty="0" smtClean="0"/>
                        <a:t>        </a:t>
                      </a:r>
                    </a:p>
                    <a:p>
                      <a:pPr algn="ctr"/>
                      <a:r>
                        <a:rPr lang="en-US" baseline="0" dirty="0" smtClean="0"/>
                        <a:t>   To Cash A/c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4390836"/>
              </p:ext>
            </p:extLst>
          </p:nvPr>
        </p:nvGraphicFramePr>
        <p:xfrm>
          <a:off x="1066800" y="4425912"/>
          <a:ext cx="7086600" cy="22796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1650"/>
                <a:gridCol w="1771650"/>
                <a:gridCol w="1771650"/>
                <a:gridCol w="1771650"/>
              </a:tblGrid>
              <a:tr h="50800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Accoun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Type of Accoun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Rul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Debit/Credit</a:t>
                      </a:r>
                      <a:endParaRPr lang="en-US" dirty="0"/>
                    </a:p>
                  </a:txBody>
                  <a:tcPr/>
                </a:tc>
              </a:tr>
              <a:tr h="565804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Cas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Real A/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Comes</a:t>
                      </a:r>
                      <a:r>
                        <a:rPr lang="en-US" baseline="0" dirty="0" smtClean="0"/>
                        <a:t> i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Debit</a:t>
                      </a:r>
                      <a:endParaRPr lang="en-US" dirty="0"/>
                    </a:p>
                  </a:txBody>
                  <a:tcPr/>
                </a:tc>
              </a:tr>
              <a:tr h="565804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Commiss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Nominal A/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Inco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Credit</a:t>
                      </a:r>
                      <a:endParaRPr lang="en-US" dirty="0"/>
                    </a:p>
                  </a:txBody>
                  <a:tcPr/>
                </a:tc>
              </a:tr>
              <a:tr h="565804">
                <a:tc gridSpan="4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     Cash A/c.</a:t>
                      </a:r>
                      <a:r>
                        <a:rPr lang="en-US" baseline="0" dirty="0" smtClean="0"/>
                        <a:t> . . . . . . . . . . . . . . . . . . . .</a:t>
                      </a:r>
                      <a:r>
                        <a:rPr lang="en-US" baseline="0" dirty="0" err="1" smtClean="0"/>
                        <a:t>Dr</a:t>
                      </a:r>
                      <a:r>
                        <a:rPr lang="en-US" baseline="0" dirty="0" smtClean="0"/>
                        <a:t>        </a:t>
                      </a:r>
                    </a:p>
                    <a:p>
                      <a:pPr algn="ctr"/>
                      <a:r>
                        <a:rPr lang="en-US" baseline="0" dirty="0" smtClean="0"/>
                        <a:t>            To Commission A/c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210571" y="1078468"/>
            <a:ext cx="8866075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1. Paid Salary Rs.10,000/-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8600" y="3962400"/>
            <a:ext cx="8866075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smtClean="0">
                <a:solidFill>
                  <a:prstClr val="black"/>
                </a:solidFill>
                <a:latin typeface="Neo Sans Std" pitchFamily="34" charset="0"/>
                <a:cs typeface="Calibri" pitchFamily="34" charset="0"/>
              </a:rPr>
              <a:t>2.Recevied Commission Rs.10,000/-</a:t>
            </a:r>
            <a:endParaRPr lang="en-US" b="1" dirty="0">
              <a:solidFill>
                <a:prstClr val="black"/>
              </a:solidFill>
              <a:latin typeface="Neo Sans Std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306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dpi="0" rotWithShape="1">
          <a:blip xmlns:r="http://schemas.openxmlformats.org/officeDocument/2006/relationships" r:embed="rId1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pulent">
  <a:themeElements>
    <a:clrScheme name="Opulent">
      <a:dk1>
        <a:sysClr val="windowText" lastClr="000000"/>
      </a:dk1>
      <a:lt1>
        <a:sysClr val="window" lastClr="FFFFFF"/>
      </a:lt1>
      <a:dk2>
        <a:srgbClr val="B13F9A"/>
      </a:dk2>
      <a:lt2>
        <a:srgbClr val="F4E7ED"/>
      </a:lt2>
      <a:accent1>
        <a:srgbClr val="B83D68"/>
      </a:accent1>
      <a:accent2>
        <a:srgbClr val="AC66BB"/>
      </a:accent2>
      <a:accent3>
        <a:srgbClr val="DE6C36"/>
      </a:accent3>
      <a:accent4>
        <a:srgbClr val="F9B639"/>
      </a:accent4>
      <a:accent5>
        <a:srgbClr val="CF6DA4"/>
      </a:accent5>
      <a:accent6>
        <a:srgbClr val="FA8D3D"/>
      </a:accent6>
      <a:hlink>
        <a:srgbClr val="FFDE66"/>
      </a:hlink>
      <a:folHlink>
        <a:srgbClr val="D490C5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pulent">
      <a:fillStyleLst>
        <a:solidFill>
          <a:schemeClr val="phClr"/>
        </a:solidFill>
        <a:gradFill rotWithShape="1">
          <a:gsLst>
            <a:gs pos="0">
              <a:schemeClr val="phClr">
                <a:tint val="15000"/>
                <a:satMod val="250000"/>
              </a:schemeClr>
            </a:gs>
            <a:gs pos="49000">
              <a:schemeClr val="phClr">
                <a:tint val="50000"/>
                <a:satMod val="200000"/>
              </a:schemeClr>
            </a:gs>
            <a:gs pos="49100">
              <a:schemeClr val="phClr">
                <a:tint val="64000"/>
                <a:satMod val="160000"/>
              </a:schemeClr>
            </a:gs>
            <a:gs pos="92000">
              <a:schemeClr val="phClr">
                <a:tint val="50000"/>
                <a:satMod val="200000"/>
              </a:schemeClr>
            </a:gs>
            <a:gs pos="100000">
              <a:schemeClr val="phClr">
                <a:tint val="43000"/>
                <a:satMod val="19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4000"/>
              </a:schemeClr>
            </a:gs>
            <a:gs pos="49000">
              <a:schemeClr val="phClr">
                <a:tint val="96000"/>
                <a:shade val="84000"/>
                <a:satMod val="110000"/>
              </a:schemeClr>
            </a:gs>
            <a:gs pos="49100">
              <a:schemeClr val="phClr">
                <a:shade val="55000"/>
                <a:satMod val="150000"/>
              </a:schemeClr>
            </a:gs>
            <a:gs pos="92000">
              <a:schemeClr val="phClr">
                <a:tint val="98000"/>
                <a:shade val="90000"/>
                <a:satMod val="128000"/>
              </a:schemeClr>
            </a:gs>
            <a:gs pos="100000">
              <a:schemeClr val="phClr">
                <a:tint val="90000"/>
                <a:shade val="97000"/>
                <a:satMod val="128000"/>
              </a:schemeClr>
            </a:gs>
          </a:gsLst>
          <a:lin ang="5400000" scaled="1"/>
        </a:gradFill>
      </a:fillStyleLst>
      <a:lnStyleLst>
        <a:ln w="11430" cap="flat" cmpd="sng" algn="ctr">
          <a:solidFill>
            <a:schemeClr val="phClr"/>
          </a:solidFill>
          <a:prstDash val="solid"/>
        </a:ln>
        <a:ln w="40000" cap="flat" cmpd="sng" algn="ctr">
          <a:solidFill>
            <a:schemeClr val="phClr"/>
          </a:solidFill>
          <a:prstDash val="solid"/>
        </a:ln>
        <a:ln w="31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000" dir="5400000" rotWithShape="0">
              <a:schemeClr val="phClr">
                <a:shade val="30000"/>
                <a:satMod val="150000"/>
                <a:alpha val="38000"/>
              </a:schemeClr>
            </a:outerShdw>
          </a:effectLst>
        </a:effectStyle>
        <a:effectStyle>
          <a:effectLst>
            <a:outerShdw blurRad="39000" dist="25400" dir="5400000" rotWithShape="0">
              <a:schemeClr val="phClr">
                <a:shade val="33000"/>
                <a:alpha val="83000"/>
              </a:schemeClr>
            </a:outerShdw>
          </a:effectLst>
        </a:effectStyle>
        <a:effectStyle>
          <a:effectLst>
            <a:outerShdw blurRad="39000" dist="25400" dir="5400000" rotWithShape="0">
              <a:schemeClr val="phClr">
                <a:shade val="33000"/>
                <a:alpha val="83000"/>
              </a:scheme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500000"/>
            </a:lightRig>
          </a:scene3d>
          <a:sp3d extrusionH="127000" prstMaterial="powder">
            <a:bevelT w="50800" h="635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78000"/>
                <a:satMod val="220000"/>
              </a:schemeClr>
            </a:gs>
            <a:gs pos="100000">
              <a:schemeClr val="phClr">
                <a:shade val="35000"/>
                <a:satMod val="155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80000"/>
              </a:schemeClr>
              <a:schemeClr val="phClr">
                <a:tint val="500"/>
                <a:satMod val="150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21</TotalTime>
  <Words>1943</Words>
  <Application>Microsoft Office PowerPoint</Application>
  <PresentationFormat>On-screen Show (4:3)</PresentationFormat>
  <Paragraphs>306</Paragraphs>
  <Slides>30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4" baseType="lpstr">
      <vt:lpstr>Office Theme</vt:lpstr>
      <vt:lpstr>2_Office Theme</vt:lpstr>
      <vt:lpstr>Opulen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rishn Ronit</dc:creator>
  <cp:lastModifiedBy>ktc</cp:lastModifiedBy>
  <cp:revision>136</cp:revision>
  <dcterms:created xsi:type="dcterms:W3CDTF">2010-10-10T17:29:35Z</dcterms:created>
  <dcterms:modified xsi:type="dcterms:W3CDTF">2019-06-29T06:34:53Z</dcterms:modified>
</cp:coreProperties>
</file>